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89.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35.xml" ContentType="application/vnd.openxmlformats-officedocument.presentationml.slideLayout+xml"/>
  <Override PartName="/ppt/slideLayouts/slideLayout113.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4.xml" ContentType="application/vnd.openxmlformats-officedocument.presentationml.slideLayout+xml"/>
  <Override PartName="/ppt/slideLayouts/slideLayout121.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4.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386.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2" r:id="rId6"/>
    <p:sldId id="416" r:id="rId7"/>
    <p:sldId id="429" r:id="rId8"/>
    <p:sldId id="426" r:id="rId9"/>
    <p:sldId id="427" r:id="rId10"/>
    <p:sldId id="428" r:id="rId11"/>
    <p:sldId id="419" r:id="rId12"/>
    <p:sldId id="425"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65" autoAdjust="0"/>
    <p:restoredTop sz="94632" autoAdjust="0"/>
  </p:normalViewPr>
  <p:slideViewPr>
    <p:cSldViewPr snapToGrid="0" snapToObjects="1">
      <p:cViewPr varScale="1">
        <p:scale>
          <a:sx n="97" d="100"/>
          <a:sy n="97" d="100"/>
        </p:scale>
        <p:origin x="-102" y="-270"/>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40602</c:v>
                </c:pt>
                <c:pt idx="1">
                  <c:v>40603</c:v>
                </c:pt>
                <c:pt idx="2">
                  <c:v>40604</c:v>
                </c:pt>
                <c:pt idx="3">
                  <c:v>40605</c:v>
                </c:pt>
                <c:pt idx="4">
                  <c:v>40606</c:v>
                </c:pt>
                <c:pt idx="5">
                  <c:v>40609</c:v>
                </c:pt>
                <c:pt idx="6">
                  <c:v>40610</c:v>
                </c:pt>
                <c:pt idx="7">
                  <c:v>40611</c:v>
                </c:pt>
                <c:pt idx="8">
                  <c:v>40612</c:v>
                </c:pt>
                <c:pt idx="9">
                  <c:v>40613</c:v>
                </c:pt>
                <c:pt idx="10">
                  <c:v>40616</c:v>
                </c:pt>
                <c:pt idx="11">
                  <c:v>40617</c:v>
                </c:pt>
                <c:pt idx="12">
                  <c:v>40618</c:v>
                </c:pt>
                <c:pt idx="13">
                  <c:v>40619</c:v>
                </c:pt>
                <c:pt idx="14">
                  <c:v>40620</c:v>
                </c:pt>
                <c:pt idx="15">
                  <c:v>40623</c:v>
                </c:pt>
                <c:pt idx="16">
                  <c:v>40624</c:v>
                </c:pt>
                <c:pt idx="17">
                  <c:v>40625</c:v>
                </c:pt>
                <c:pt idx="18">
                  <c:v>40626</c:v>
                </c:pt>
                <c:pt idx="19">
                  <c:v>40627</c:v>
                </c:pt>
                <c:pt idx="20">
                  <c:v>40630</c:v>
                </c:pt>
                <c:pt idx="21">
                  <c:v>40631</c:v>
                </c:pt>
                <c:pt idx="22">
                  <c:v>40632</c:v>
                </c:pt>
                <c:pt idx="23">
                  <c:v>40633</c:v>
                </c:pt>
                <c:pt idx="24">
                  <c:v>40634</c:v>
                </c:pt>
                <c:pt idx="25">
                  <c:v>40637</c:v>
                </c:pt>
                <c:pt idx="26">
                  <c:v>40638</c:v>
                </c:pt>
                <c:pt idx="27">
                  <c:v>40639</c:v>
                </c:pt>
                <c:pt idx="28">
                  <c:v>40640</c:v>
                </c:pt>
                <c:pt idx="29">
                  <c:v>40641</c:v>
                </c:pt>
                <c:pt idx="30">
                  <c:v>40644</c:v>
                </c:pt>
                <c:pt idx="31">
                  <c:v>40645</c:v>
                </c:pt>
                <c:pt idx="32">
                  <c:v>40646</c:v>
                </c:pt>
                <c:pt idx="33">
                  <c:v>40647</c:v>
                </c:pt>
                <c:pt idx="34">
                  <c:v>40648</c:v>
                </c:pt>
                <c:pt idx="35">
                  <c:v>40651</c:v>
                </c:pt>
                <c:pt idx="36">
                  <c:v>40652</c:v>
                </c:pt>
                <c:pt idx="37">
                  <c:v>40653</c:v>
                </c:pt>
                <c:pt idx="38">
                  <c:v>40654</c:v>
                </c:pt>
                <c:pt idx="39">
                  <c:v>40659</c:v>
                </c:pt>
                <c:pt idx="40">
                  <c:v>40660</c:v>
                </c:pt>
                <c:pt idx="41">
                  <c:v>40661</c:v>
                </c:pt>
                <c:pt idx="42">
                  <c:v>40662</c:v>
                </c:pt>
                <c:pt idx="43">
                  <c:v>40665</c:v>
                </c:pt>
                <c:pt idx="44">
                  <c:v>40666</c:v>
                </c:pt>
                <c:pt idx="45">
                  <c:v>40667</c:v>
                </c:pt>
                <c:pt idx="46">
                  <c:v>40668</c:v>
                </c:pt>
                <c:pt idx="47">
                  <c:v>40669</c:v>
                </c:pt>
                <c:pt idx="48">
                  <c:v>40672</c:v>
                </c:pt>
                <c:pt idx="49">
                  <c:v>40673</c:v>
                </c:pt>
                <c:pt idx="50">
                  <c:v>40674</c:v>
                </c:pt>
                <c:pt idx="51">
                  <c:v>40675</c:v>
                </c:pt>
                <c:pt idx="52">
                  <c:v>40676</c:v>
                </c:pt>
                <c:pt idx="53">
                  <c:v>40679</c:v>
                </c:pt>
                <c:pt idx="54">
                  <c:v>40680</c:v>
                </c:pt>
                <c:pt idx="55">
                  <c:v>40681</c:v>
                </c:pt>
                <c:pt idx="56">
                  <c:v>40682</c:v>
                </c:pt>
                <c:pt idx="57">
                  <c:v>40683</c:v>
                </c:pt>
                <c:pt idx="58">
                  <c:v>40686</c:v>
                </c:pt>
                <c:pt idx="59">
                  <c:v>40687</c:v>
                </c:pt>
                <c:pt idx="60">
                  <c:v>40688</c:v>
                </c:pt>
                <c:pt idx="61">
                  <c:v>40689</c:v>
                </c:pt>
                <c:pt idx="62">
                  <c:v>40690</c:v>
                </c:pt>
                <c:pt idx="63">
                  <c:v>40693</c:v>
                </c:pt>
                <c:pt idx="64">
                  <c:v>40694</c:v>
                </c:pt>
                <c:pt idx="65">
                  <c:v>40695</c:v>
                </c:pt>
                <c:pt idx="66">
                  <c:v>40696</c:v>
                </c:pt>
                <c:pt idx="67">
                  <c:v>40697</c:v>
                </c:pt>
                <c:pt idx="68">
                  <c:v>40700</c:v>
                </c:pt>
                <c:pt idx="69">
                  <c:v>40701</c:v>
                </c:pt>
                <c:pt idx="70">
                  <c:v>40702</c:v>
                </c:pt>
                <c:pt idx="71">
                  <c:v>40703</c:v>
                </c:pt>
                <c:pt idx="72">
                  <c:v>40704</c:v>
                </c:pt>
                <c:pt idx="73">
                  <c:v>40707</c:v>
                </c:pt>
                <c:pt idx="74">
                  <c:v>40708</c:v>
                </c:pt>
                <c:pt idx="75">
                  <c:v>40709</c:v>
                </c:pt>
                <c:pt idx="76">
                  <c:v>40710</c:v>
                </c:pt>
                <c:pt idx="77">
                  <c:v>40711</c:v>
                </c:pt>
                <c:pt idx="78">
                  <c:v>40714</c:v>
                </c:pt>
                <c:pt idx="79">
                  <c:v>40715</c:v>
                </c:pt>
                <c:pt idx="80">
                  <c:v>40716</c:v>
                </c:pt>
                <c:pt idx="81">
                  <c:v>40717</c:v>
                </c:pt>
                <c:pt idx="82">
                  <c:v>40718</c:v>
                </c:pt>
                <c:pt idx="83">
                  <c:v>40721</c:v>
                </c:pt>
                <c:pt idx="84">
                  <c:v>40722</c:v>
                </c:pt>
                <c:pt idx="85">
                  <c:v>40723</c:v>
                </c:pt>
                <c:pt idx="86">
                  <c:v>40724</c:v>
                </c:pt>
                <c:pt idx="87">
                  <c:v>40725</c:v>
                </c:pt>
                <c:pt idx="88">
                  <c:v>40728</c:v>
                </c:pt>
                <c:pt idx="89">
                  <c:v>40729</c:v>
                </c:pt>
                <c:pt idx="90">
                  <c:v>40730</c:v>
                </c:pt>
                <c:pt idx="91">
                  <c:v>40731</c:v>
                </c:pt>
                <c:pt idx="92">
                  <c:v>40732</c:v>
                </c:pt>
                <c:pt idx="93">
                  <c:v>40735</c:v>
                </c:pt>
                <c:pt idx="94">
                  <c:v>40736</c:v>
                </c:pt>
                <c:pt idx="95">
                  <c:v>40737</c:v>
                </c:pt>
                <c:pt idx="96">
                  <c:v>40738</c:v>
                </c:pt>
                <c:pt idx="97">
                  <c:v>40739</c:v>
                </c:pt>
                <c:pt idx="98">
                  <c:v>40742</c:v>
                </c:pt>
                <c:pt idx="99">
                  <c:v>40743</c:v>
                </c:pt>
                <c:pt idx="100">
                  <c:v>40744</c:v>
                </c:pt>
                <c:pt idx="101">
                  <c:v>40745</c:v>
                </c:pt>
                <c:pt idx="102">
                  <c:v>40746</c:v>
                </c:pt>
                <c:pt idx="103">
                  <c:v>40749</c:v>
                </c:pt>
                <c:pt idx="104">
                  <c:v>40750</c:v>
                </c:pt>
                <c:pt idx="105">
                  <c:v>40751</c:v>
                </c:pt>
                <c:pt idx="106">
                  <c:v>40752</c:v>
                </c:pt>
                <c:pt idx="107">
                  <c:v>40753</c:v>
                </c:pt>
                <c:pt idx="108">
                  <c:v>40756</c:v>
                </c:pt>
                <c:pt idx="109">
                  <c:v>40757</c:v>
                </c:pt>
                <c:pt idx="110">
                  <c:v>40758</c:v>
                </c:pt>
                <c:pt idx="111">
                  <c:v>40759</c:v>
                </c:pt>
                <c:pt idx="112">
                  <c:v>40760</c:v>
                </c:pt>
                <c:pt idx="113">
                  <c:v>40763</c:v>
                </c:pt>
                <c:pt idx="114">
                  <c:v>40764</c:v>
                </c:pt>
                <c:pt idx="115">
                  <c:v>40765</c:v>
                </c:pt>
                <c:pt idx="116">
                  <c:v>40766</c:v>
                </c:pt>
                <c:pt idx="117">
                  <c:v>40767</c:v>
                </c:pt>
                <c:pt idx="118">
                  <c:v>40770</c:v>
                </c:pt>
                <c:pt idx="119">
                  <c:v>40771</c:v>
                </c:pt>
                <c:pt idx="120">
                  <c:v>40772</c:v>
                </c:pt>
                <c:pt idx="121">
                  <c:v>40773</c:v>
                </c:pt>
                <c:pt idx="122">
                  <c:v>40774</c:v>
                </c:pt>
                <c:pt idx="123">
                  <c:v>40777</c:v>
                </c:pt>
                <c:pt idx="124">
                  <c:v>40778</c:v>
                </c:pt>
                <c:pt idx="125">
                  <c:v>40779</c:v>
                </c:pt>
                <c:pt idx="126">
                  <c:v>40780</c:v>
                </c:pt>
                <c:pt idx="127">
                  <c:v>40781</c:v>
                </c:pt>
                <c:pt idx="128">
                  <c:v>40784</c:v>
                </c:pt>
                <c:pt idx="129">
                  <c:v>40785</c:v>
                </c:pt>
                <c:pt idx="130">
                  <c:v>40786</c:v>
                </c:pt>
                <c:pt idx="131">
                  <c:v>40787</c:v>
                </c:pt>
                <c:pt idx="132">
                  <c:v>40788</c:v>
                </c:pt>
                <c:pt idx="133">
                  <c:v>40791</c:v>
                </c:pt>
                <c:pt idx="134">
                  <c:v>40792</c:v>
                </c:pt>
                <c:pt idx="135">
                  <c:v>40793</c:v>
                </c:pt>
                <c:pt idx="136">
                  <c:v>40794</c:v>
                </c:pt>
                <c:pt idx="137">
                  <c:v>40795</c:v>
                </c:pt>
                <c:pt idx="138">
                  <c:v>40798</c:v>
                </c:pt>
                <c:pt idx="139">
                  <c:v>40799</c:v>
                </c:pt>
                <c:pt idx="140">
                  <c:v>40800</c:v>
                </c:pt>
                <c:pt idx="141">
                  <c:v>40801</c:v>
                </c:pt>
                <c:pt idx="142">
                  <c:v>40802</c:v>
                </c:pt>
                <c:pt idx="143">
                  <c:v>40805</c:v>
                </c:pt>
                <c:pt idx="144">
                  <c:v>40806</c:v>
                </c:pt>
                <c:pt idx="145">
                  <c:v>40807</c:v>
                </c:pt>
                <c:pt idx="146">
                  <c:v>40808</c:v>
                </c:pt>
                <c:pt idx="147">
                  <c:v>40809</c:v>
                </c:pt>
                <c:pt idx="148">
                  <c:v>40812</c:v>
                </c:pt>
                <c:pt idx="149">
                  <c:v>40813</c:v>
                </c:pt>
                <c:pt idx="150">
                  <c:v>40814</c:v>
                </c:pt>
                <c:pt idx="151">
                  <c:v>40815</c:v>
                </c:pt>
                <c:pt idx="152">
                  <c:v>40816</c:v>
                </c:pt>
                <c:pt idx="153">
                  <c:v>40819</c:v>
                </c:pt>
                <c:pt idx="154">
                  <c:v>40820</c:v>
                </c:pt>
                <c:pt idx="155">
                  <c:v>40821</c:v>
                </c:pt>
                <c:pt idx="156">
                  <c:v>40822</c:v>
                </c:pt>
                <c:pt idx="157">
                  <c:v>40823</c:v>
                </c:pt>
                <c:pt idx="158">
                  <c:v>40826</c:v>
                </c:pt>
                <c:pt idx="159">
                  <c:v>40827</c:v>
                </c:pt>
                <c:pt idx="160">
                  <c:v>40828</c:v>
                </c:pt>
                <c:pt idx="161">
                  <c:v>40829</c:v>
                </c:pt>
                <c:pt idx="162">
                  <c:v>40830</c:v>
                </c:pt>
                <c:pt idx="163">
                  <c:v>40833</c:v>
                </c:pt>
                <c:pt idx="164">
                  <c:v>40834</c:v>
                </c:pt>
                <c:pt idx="165">
                  <c:v>40835</c:v>
                </c:pt>
                <c:pt idx="166">
                  <c:v>40836</c:v>
                </c:pt>
                <c:pt idx="167">
                  <c:v>40837</c:v>
                </c:pt>
                <c:pt idx="168">
                  <c:v>40840</c:v>
                </c:pt>
                <c:pt idx="169">
                  <c:v>40841</c:v>
                </c:pt>
                <c:pt idx="170">
                  <c:v>40842</c:v>
                </c:pt>
                <c:pt idx="171">
                  <c:v>40843</c:v>
                </c:pt>
                <c:pt idx="172">
                  <c:v>40844</c:v>
                </c:pt>
                <c:pt idx="173">
                  <c:v>40847</c:v>
                </c:pt>
                <c:pt idx="174">
                  <c:v>40848</c:v>
                </c:pt>
                <c:pt idx="175">
                  <c:v>40849</c:v>
                </c:pt>
                <c:pt idx="176">
                  <c:v>40850</c:v>
                </c:pt>
                <c:pt idx="177">
                  <c:v>40851</c:v>
                </c:pt>
                <c:pt idx="178">
                  <c:v>40854</c:v>
                </c:pt>
                <c:pt idx="179">
                  <c:v>40855</c:v>
                </c:pt>
                <c:pt idx="180">
                  <c:v>40856</c:v>
                </c:pt>
                <c:pt idx="181">
                  <c:v>40857</c:v>
                </c:pt>
                <c:pt idx="182">
                  <c:v>40858</c:v>
                </c:pt>
                <c:pt idx="183">
                  <c:v>40861</c:v>
                </c:pt>
                <c:pt idx="184">
                  <c:v>40862</c:v>
                </c:pt>
                <c:pt idx="185">
                  <c:v>40863</c:v>
                </c:pt>
                <c:pt idx="186">
                  <c:v>40864</c:v>
                </c:pt>
                <c:pt idx="187">
                  <c:v>40865</c:v>
                </c:pt>
                <c:pt idx="188">
                  <c:v>40868</c:v>
                </c:pt>
                <c:pt idx="189">
                  <c:v>40869</c:v>
                </c:pt>
                <c:pt idx="190">
                  <c:v>40870</c:v>
                </c:pt>
                <c:pt idx="191">
                  <c:v>40871</c:v>
                </c:pt>
                <c:pt idx="192">
                  <c:v>40872</c:v>
                </c:pt>
                <c:pt idx="193">
                  <c:v>40875</c:v>
                </c:pt>
                <c:pt idx="194">
                  <c:v>40876</c:v>
                </c:pt>
                <c:pt idx="195">
                  <c:v>40877</c:v>
                </c:pt>
                <c:pt idx="196">
                  <c:v>40878</c:v>
                </c:pt>
                <c:pt idx="197">
                  <c:v>40879</c:v>
                </c:pt>
                <c:pt idx="198">
                  <c:v>40882</c:v>
                </c:pt>
                <c:pt idx="199">
                  <c:v>40883</c:v>
                </c:pt>
                <c:pt idx="200">
                  <c:v>40884</c:v>
                </c:pt>
                <c:pt idx="201">
                  <c:v>40885</c:v>
                </c:pt>
                <c:pt idx="202">
                  <c:v>40886</c:v>
                </c:pt>
                <c:pt idx="203">
                  <c:v>40889</c:v>
                </c:pt>
                <c:pt idx="204">
                  <c:v>40890</c:v>
                </c:pt>
                <c:pt idx="205">
                  <c:v>40891</c:v>
                </c:pt>
                <c:pt idx="206">
                  <c:v>40892</c:v>
                </c:pt>
                <c:pt idx="207">
                  <c:v>40893</c:v>
                </c:pt>
                <c:pt idx="208">
                  <c:v>40896</c:v>
                </c:pt>
                <c:pt idx="209">
                  <c:v>40897</c:v>
                </c:pt>
                <c:pt idx="210">
                  <c:v>40898</c:v>
                </c:pt>
                <c:pt idx="211">
                  <c:v>40899</c:v>
                </c:pt>
                <c:pt idx="212">
                  <c:v>40900</c:v>
                </c:pt>
                <c:pt idx="213">
                  <c:v>40904</c:v>
                </c:pt>
                <c:pt idx="214">
                  <c:v>40905</c:v>
                </c:pt>
                <c:pt idx="215">
                  <c:v>40906</c:v>
                </c:pt>
                <c:pt idx="216">
                  <c:v>40907</c:v>
                </c:pt>
                <c:pt idx="217">
                  <c:v>40910</c:v>
                </c:pt>
                <c:pt idx="218">
                  <c:v>40911</c:v>
                </c:pt>
                <c:pt idx="219">
                  <c:v>40912</c:v>
                </c:pt>
                <c:pt idx="220">
                  <c:v>40913</c:v>
                </c:pt>
                <c:pt idx="221">
                  <c:v>40914</c:v>
                </c:pt>
                <c:pt idx="222">
                  <c:v>40917</c:v>
                </c:pt>
                <c:pt idx="223">
                  <c:v>40918</c:v>
                </c:pt>
                <c:pt idx="224">
                  <c:v>40919</c:v>
                </c:pt>
                <c:pt idx="225">
                  <c:v>40920</c:v>
                </c:pt>
                <c:pt idx="226">
                  <c:v>40921</c:v>
                </c:pt>
                <c:pt idx="227">
                  <c:v>40924</c:v>
                </c:pt>
                <c:pt idx="228">
                  <c:v>40925</c:v>
                </c:pt>
                <c:pt idx="229">
                  <c:v>40926</c:v>
                </c:pt>
                <c:pt idx="230">
                  <c:v>40927</c:v>
                </c:pt>
                <c:pt idx="231">
                  <c:v>40928</c:v>
                </c:pt>
                <c:pt idx="232">
                  <c:v>40931</c:v>
                </c:pt>
                <c:pt idx="233">
                  <c:v>40932</c:v>
                </c:pt>
                <c:pt idx="234">
                  <c:v>40933</c:v>
                </c:pt>
                <c:pt idx="235">
                  <c:v>40934</c:v>
                </c:pt>
                <c:pt idx="236">
                  <c:v>40935</c:v>
                </c:pt>
                <c:pt idx="237">
                  <c:v>40938</c:v>
                </c:pt>
                <c:pt idx="238">
                  <c:v>40939</c:v>
                </c:pt>
                <c:pt idx="239">
                  <c:v>40940</c:v>
                </c:pt>
                <c:pt idx="240">
                  <c:v>40941</c:v>
                </c:pt>
                <c:pt idx="241">
                  <c:v>40942</c:v>
                </c:pt>
                <c:pt idx="242">
                  <c:v>40945</c:v>
                </c:pt>
                <c:pt idx="243">
                  <c:v>40946</c:v>
                </c:pt>
                <c:pt idx="244">
                  <c:v>40947</c:v>
                </c:pt>
                <c:pt idx="245">
                  <c:v>40948</c:v>
                </c:pt>
                <c:pt idx="246">
                  <c:v>40949</c:v>
                </c:pt>
                <c:pt idx="247">
                  <c:v>40952</c:v>
                </c:pt>
                <c:pt idx="248">
                  <c:v>40953</c:v>
                </c:pt>
                <c:pt idx="249">
                  <c:v>40954</c:v>
                </c:pt>
                <c:pt idx="250">
                  <c:v>40955</c:v>
                </c:pt>
                <c:pt idx="251">
                  <c:v>40956</c:v>
                </c:pt>
                <c:pt idx="252">
                  <c:v>40959</c:v>
                </c:pt>
                <c:pt idx="253">
                  <c:v>40960</c:v>
                </c:pt>
                <c:pt idx="254">
                  <c:v>40961</c:v>
                </c:pt>
                <c:pt idx="255">
                  <c:v>40962</c:v>
                </c:pt>
                <c:pt idx="256">
                  <c:v>40963</c:v>
                </c:pt>
                <c:pt idx="257">
                  <c:v>40966</c:v>
                </c:pt>
                <c:pt idx="258">
                  <c:v>40967</c:v>
                </c:pt>
                <c:pt idx="259">
                  <c:v>40968</c:v>
                </c:pt>
                <c:pt idx="260">
                  <c:v>40969</c:v>
                </c:pt>
                <c:pt idx="261">
                  <c:v>40970</c:v>
                </c:pt>
                <c:pt idx="262">
                  <c:v>40973</c:v>
                </c:pt>
                <c:pt idx="263">
                  <c:v>40974</c:v>
                </c:pt>
                <c:pt idx="264">
                  <c:v>40975</c:v>
                </c:pt>
                <c:pt idx="265">
                  <c:v>40976</c:v>
                </c:pt>
                <c:pt idx="266">
                  <c:v>40977</c:v>
                </c:pt>
                <c:pt idx="267">
                  <c:v>40980</c:v>
                </c:pt>
                <c:pt idx="268">
                  <c:v>40981</c:v>
                </c:pt>
                <c:pt idx="269">
                  <c:v>40982</c:v>
                </c:pt>
                <c:pt idx="270">
                  <c:v>40983</c:v>
                </c:pt>
                <c:pt idx="271">
                  <c:v>40984</c:v>
                </c:pt>
                <c:pt idx="272">
                  <c:v>40987</c:v>
                </c:pt>
                <c:pt idx="273">
                  <c:v>40988</c:v>
                </c:pt>
                <c:pt idx="274">
                  <c:v>40989</c:v>
                </c:pt>
                <c:pt idx="275">
                  <c:v>40990</c:v>
                </c:pt>
                <c:pt idx="276">
                  <c:v>40991</c:v>
                </c:pt>
                <c:pt idx="277">
                  <c:v>40994</c:v>
                </c:pt>
                <c:pt idx="278">
                  <c:v>40995</c:v>
                </c:pt>
                <c:pt idx="279">
                  <c:v>40996</c:v>
                </c:pt>
                <c:pt idx="280">
                  <c:v>40997</c:v>
                </c:pt>
                <c:pt idx="281">
                  <c:v>40998</c:v>
                </c:pt>
                <c:pt idx="282">
                  <c:v>41001</c:v>
                </c:pt>
                <c:pt idx="283">
                  <c:v>41002</c:v>
                </c:pt>
                <c:pt idx="284">
                  <c:v>41003</c:v>
                </c:pt>
                <c:pt idx="285">
                  <c:v>41004</c:v>
                </c:pt>
                <c:pt idx="286">
                  <c:v>41009</c:v>
                </c:pt>
                <c:pt idx="287">
                  <c:v>41010</c:v>
                </c:pt>
                <c:pt idx="288">
                  <c:v>41011</c:v>
                </c:pt>
                <c:pt idx="289">
                  <c:v>41012</c:v>
                </c:pt>
                <c:pt idx="290">
                  <c:v>41015</c:v>
                </c:pt>
                <c:pt idx="291">
                  <c:v>41016</c:v>
                </c:pt>
                <c:pt idx="292">
                  <c:v>41017</c:v>
                </c:pt>
                <c:pt idx="293">
                  <c:v>41018</c:v>
                </c:pt>
                <c:pt idx="294">
                  <c:v>41019</c:v>
                </c:pt>
                <c:pt idx="295">
                  <c:v>41022</c:v>
                </c:pt>
                <c:pt idx="296">
                  <c:v>41023</c:v>
                </c:pt>
                <c:pt idx="297">
                  <c:v>41024</c:v>
                </c:pt>
                <c:pt idx="298">
                  <c:v>41025</c:v>
                </c:pt>
                <c:pt idx="299">
                  <c:v>41026</c:v>
                </c:pt>
                <c:pt idx="300">
                  <c:v>41029</c:v>
                </c:pt>
                <c:pt idx="301">
                  <c:v>41030</c:v>
                </c:pt>
                <c:pt idx="302">
                  <c:v>41031</c:v>
                </c:pt>
                <c:pt idx="303">
                  <c:v>41032</c:v>
                </c:pt>
                <c:pt idx="304">
                  <c:v>41033</c:v>
                </c:pt>
                <c:pt idx="305">
                  <c:v>41036</c:v>
                </c:pt>
                <c:pt idx="306">
                  <c:v>41037</c:v>
                </c:pt>
                <c:pt idx="307">
                  <c:v>41038</c:v>
                </c:pt>
                <c:pt idx="308">
                  <c:v>41039</c:v>
                </c:pt>
                <c:pt idx="309">
                  <c:v>41040</c:v>
                </c:pt>
                <c:pt idx="310">
                  <c:v>41043</c:v>
                </c:pt>
                <c:pt idx="311">
                  <c:v>41044</c:v>
                </c:pt>
                <c:pt idx="312">
                  <c:v>41045</c:v>
                </c:pt>
                <c:pt idx="313">
                  <c:v>41046</c:v>
                </c:pt>
                <c:pt idx="314">
                  <c:v>41047</c:v>
                </c:pt>
                <c:pt idx="315">
                  <c:v>41050</c:v>
                </c:pt>
                <c:pt idx="316">
                  <c:v>41051</c:v>
                </c:pt>
                <c:pt idx="317">
                  <c:v>41052</c:v>
                </c:pt>
                <c:pt idx="318">
                  <c:v>41053</c:v>
                </c:pt>
                <c:pt idx="319">
                  <c:v>41054</c:v>
                </c:pt>
                <c:pt idx="320">
                  <c:v>41057</c:v>
                </c:pt>
                <c:pt idx="321">
                  <c:v>41058</c:v>
                </c:pt>
                <c:pt idx="322">
                  <c:v>41059</c:v>
                </c:pt>
                <c:pt idx="323">
                  <c:v>41060</c:v>
                </c:pt>
                <c:pt idx="324">
                  <c:v>41061</c:v>
                </c:pt>
                <c:pt idx="325">
                  <c:v>41064</c:v>
                </c:pt>
                <c:pt idx="326">
                  <c:v>41065</c:v>
                </c:pt>
                <c:pt idx="327">
                  <c:v>41066</c:v>
                </c:pt>
                <c:pt idx="328">
                  <c:v>41067</c:v>
                </c:pt>
                <c:pt idx="329">
                  <c:v>41068</c:v>
                </c:pt>
                <c:pt idx="330">
                  <c:v>41071</c:v>
                </c:pt>
                <c:pt idx="331">
                  <c:v>41072</c:v>
                </c:pt>
                <c:pt idx="332">
                  <c:v>41073</c:v>
                </c:pt>
                <c:pt idx="333">
                  <c:v>41074</c:v>
                </c:pt>
                <c:pt idx="334">
                  <c:v>41075</c:v>
                </c:pt>
                <c:pt idx="335">
                  <c:v>41078</c:v>
                </c:pt>
                <c:pt idx="336">
                  <c:v>41079</c:v>
                </c:pt>
                <c:pt idx="337">
                  <c:v>41080</c:v>
                </c:pt>
                <c:pt idx="338">
                  <c:v>41081</c:v>
                </c:pt>
                <c:pt idx="339">
                  <c:v>41082</c:v>
                </c:pt>
                <c:pt idx="340">
                  <c:v>41085</c:v>
                </c:pt>
                <c:pt idx="341">
                  <c:v>41086</c:v>
                </c:pt>
                <c:pt idx="342">
                  <c:v>41087</c:v>
                </c:pt>
                <c:pt idx="343">
                  <c:v>41088</c:v>
                </c:pt>
                <c:pt idx="344">
                  <c:v>41089</c:v>
                </c:pt>
                <c:pt idx="345">
                  <c:v>41092</c:v>
                </c:pt>
                <c:pt idx="346">
                  <c:v>41093</c:v>
                </c:pt>
                <c:pt idx="347">
                  <c:v>41094</c:v>
                </c:pt>
                <c:pt idx="348">
                  <c:v>41095</c:v>
                </c:pt>
                <c:pt idx="349">
                  <c:v>41096</c:v>
                </c:pt>
                <c:pt idx="350">
                  <c:v>41099</c:v>
                </c:pt>
                <c:pt idx="351">
                  <c:v>41100</c:v>
                </c:pt>
                <c:pt idx="352">
                  <c:v>41101</c:v>
                </c:pt>
                <c:pt idx="353">
                  <c:v>41102</c:v>
                </c:pt>
                <c:pt idx="354">
                  <c:v>41103</c:v>
                </c:pt>
                <c:pt idx="355">
                  <c:v>41106</c:v>
                </c:pt>
                <c:pt idx="356">
                  <c:v>41107</c:v>
                </c:pt>
                <c:pt idx="357">
                  <c:v>41108</c:v>
                </c:pt>
                <c:pt idx="358">
                  <c:v>41109</c:v>
                </c:pt>
                <c:pt idx="359">
                  <c:v>41110</c:v>
                </c:pt>
                <c:pt idx="360">
                  <c:v>41113</c:v>
                </c:pt>
                <c:pt idx="361">
                  <c:v>41114</c:v>
                </c:pt>
                <c:pt idx="362">
                  <c:v>41115</c:v>
                </c:pt>
                <c:pt idx="363">
                  <c:v>41116</c:v>
                </c:pt>
                <c:pt idx="364">
                  <c:v>41117</c:v>
                </c:pt>
                <c:pt idx="365">
                  <c:v>41120</c:v>
                </c:pt>
                <c:pt idx="366">
                  <c:v>41121</c:v>
                </c:pt>
                <c:pt idx="367">
                  <c:v>41122</c:v>
                </c:pt>
                <c:pt idx="368">
                  <c:v>41123</c:v>
                </c:pt>
                <c:pt idx="369">
                  <c:v>41124</c:v>
                </c:pt>
                <c:pt idx="370">
                  <c:v>41127</c:v>
                </c:pt>
                <c:pt idx="371">
                  <c:v>41128</c:v>
                </c:pt>
                <c:pt idx="372">
                  <c:v>41129</c:v>
                </c:pt>
                <c:pt idx="373">
                  <c:v>41130</c:v>
                </c:pt>
                <c:pt idx="374">
                  <c:v>41131</c:v>
                </c:pt>
                <c:pt idx="375">
                  <c:v>41134</c:v>
                </c:pt>
                <c:pt idx="376">
                  <c:v>41135</c:v>
                </c:pt>
                <c:pt idx="377">
                  <c:v>41136</c:v>
                </c:pt>
                <c:pt idx="378">
                  <c:v>41137</c:v>
                </c:pt>
                <c:pt idx="379">
                  <c:v>41138</c:v>
                </c:pt>
                <c:pt idx="380">
                  <c:v>41141</c:v>
                </c:pt>
                <c:pt idx="381">
                  <c:v>41142</c:v>
                </c:pt>
                <c:pt idx="382">
                  <c:v>41143</c:v>
                </c:pt>
                <c:pt idx="383">
                  <c:v>41144</c:v>
                </c:pt>
                <c:pt idx="384">
                  <c:v>41145</c:v>
                </c:pt>
                <c:pt idx="385">
                  <c:v>41148</c:v>
                </c:pt>
                <c:pt idx="386">
                  <c:v>41149</c:v>
                </c:pt>
                <c:pt idx="387">
                  <c:v>41150</c:v>
                </c:pt>
                <c:pt idx="388">
                  <c:v>41151</c:v>
                </c:pt>
                <c:pt idx="389">
                  <c:v>41152</c:v>
                </c:pt>
                <c:pt idx="390">
                  <c:v>41155</c:v>
                </c:pt>
                <c:pt idx="391">
                  <c:v>41156</c:v>
                </c:pt>
                <c:pt idx="392">
                  <c:v>41157</c:v>
                </c:pt>
                <c:pt idx="393">
                  <c:v>41158</c:v>
                </c:pt>
                <c:pt idx="394">
                  <c:v>41159</c:v>
                </c:pt>
                <c:pt idx="395">
                  <c:v>41162</c:v>
                </c:pt>
                <c:pt idx="396">
                  <c:v>41163</c:v>
                </c:pt>
                <c:pt idx="397">
                  <c:v>41164</c:v>
                </c:pt>
                <c:pt idx="398">
                  <c:v>41165</c:v>
                </c:pt>
                <c:pt idx="399">
                  <c:v>41166</c:v>
                </c:pt>
                <c:pt idx="400">
                  <c:v>41169</c:v>
                </c:pt>
                <c:pt idx="401">
                  <c:v>41170</c:v>
                </c:pt>
                <c:pt idx="402">
                  <c:v>41171</c:v>
                </c:pt>
                <c:pt idx="403">
                  <c:v>41172</c:v>
                </c:pt>
                <c:pt idx="404">
                  <c:v>41173</c:v>
                </c:pt>
                <c:pt idx="405">
                  <c:v>41176</c:v>
                </c:pt>
                <c:pt idx="406">
                  <c:v>41177</c:v>
                </c:pt>
                <c:pt idx="407">
                  <c:v>41178</c:v>
                </c:pt>
                <c:pt idx="408">
                  <c:v>41179</c:v>
                </c:pt>
                <c:pt idx="409">
                  <c:v>41180</c:v>
                </c:pt>
                <c:pt idx="410">
                  <c:v>41183</c:v>
                </c:pt>
                <c:pt idx="411">
                  <c:v>41184</c:v>
                </c:pt>
                <c:pt idx="412">
                  <c:v>41185</c:v>
                </c:pt>
                <c:pt idx="413">
                  <c:v>41186</c:v>
                </c:pt>
                <c:pt idx="414">
                  <c:v>41187</c:v>
                </c:pt>
                <c:pt idx="415">
                  <c:v>41190</c:v>
                </c:pt>
                <c:pt idx="416">
                  <c:v>41191</c:v>
                </c:pt>
                <c:pt idx="417">
                  <c:v>41192</c:v>
                </c:pt>
                <c:pt idx="418">
                  <c:v>41193</c:v>
                </c:pt>
                <c:pt idx="419">
                  <c:v>41194</c:v>
                </c:pt>
                <c:pt idx="420">
                  <c:v>41197</c:v>
                </c:pt>
                <c:pt idx="421">
                  <c:v>41198</c:v>
                </c:pt>
                <c:pt idx="422">
                  <c:v>41199</c:v>
                </c:pt>
                <c:pt idx="423">
                  <c:v>41200</c:v>
                </c:pt>
                <c:pt idx="424">
                  <c:v>41201</c:v>
                </c:pt>
                <c:pt idx="425">
                  <c:v>41204</c:v>
                </c:pt>
                <c:pt idx="426">
                  <c:v>41205</c:v>
                </c:pt>
                <c:pt idx="427">
                  <c:v>41206</c:v>
                </c:pt>
                <c:pt idx="428">
                  <c:v>41207</c:v>
                </c:pt>
                <c:pt idx="429">
                  <c:v>41208</c:v>
                </c:pt>
                <c:pt idx="430">
                  <c:v>41211</c:v>
                </c:pt>
                <c:pt idx="431">
                  <c:v>41212</c:v>
                </c:pt>
                <c:pt idx="432">
                  <c:v>41213</c:v>
                </c:pt>
                <c:pt idx="433">
                  <c:v>41214</c:v>
                </c:pt>
                <c:pt idx="434">
                  <c:v>41215</c:v>
                </c:pt>
                <c:pt idx="435">
                  <c:v>41218</c:v>
                </c:pt>
                <c:pt idx="436">
                  <c:v>41219</c:v>
                </c:pt>
                <c:pt idx="437">
                  <c:v>41220</c:v>
                </c:pt>
                <c:pt idx="438">
                  <c:v>41221</c:v>
                </c:pt>
                <c:pt idx="439">
                  <c:v>41222</c:v>
                </c:pt>
                <c:pt idx="440">
                  <c:v>41225</c:v>
                </c:pt>
                <c:pt idx="441">
                  <c:v>41226</c:v>
                </c:pt>
                <c:pt idx="442">
                  <c:v>41227</c:v>
                </c:pt>
                <c:pt idx="443">
                  <c:v>41228</c:v>
                </c:pt>
                <c:pt idx="444">
                  <c:v>41229</c:v>
                </c:pt>
                <c:pt idx="445">
                  <c:v>41232</c:v>
                </c:pt>
                <c:pt idx="446">
                  <c:v>41233</c:v>
                </c:pt>
                <c:pt idx="447">
                  <c:v>41234</c:v>
                </c:pt>
                <c:pt idx="448">
                  <c:v>41235</c:v>
                </c:pt>
                <c:pt idx="449">
                  <c:v>41236</c:v>
                </c:pt>
                <c:pt idx="450">
                  <c:v>41239</c:v>
                </c:pt>
                <c:pt idx="451">
                  <c:v>41240</c:v>
                </c:pt>
                <c:pt idx="452">
                  <c:v>41241</c:v>
                </c:pt>
                <c:pt idx="453">
                  <c:v>41242</c:v>
                </c:pt>
                <c:pt idx="454">
                  <c:v>41243</c:v>
                </c:pt>
                <c:pt idx="455">
                  <c:v>41246</c:v>
                </c:pt>
                <c:pt idx="456">
                  <c:v>41247</c:v>
                </c:pt>
                <c:pt idx="457">
                  <c:v>41248</c:v>
                </c:pt>
                <c:pt idx="458">
                  <c:v>41249</c:v>
                </c:pt>
                <c:pt idx="459">
                  <c:v>41250</c:v>
                </c:pt>
                <c:pt idx="460">
                  <c:v>41253</c:v>
                </c:pt>
                <c:pt idx="461">
                  <c:v>41254</c:v>
                </c:pt>
                <c:pt idx="462">
                  <c:v>41255</c:v>
                </c:pt>
                <c:pt idx="463">
                  <c:v>41256</c:v>
                </c:pt>
                <c:pt idx="464">
                  <c:v>41257</c:v>
                </c:pt>
                <c:pt idx="465">
                  <c:v>41260</c:v>
                </c:pt>
                <c:pt idx="466">
                  <c:v>41261</c:v>
                </c:pt>
                <c:pt idx="467">
                  <c:v>41262</c:v>
                </c:pt>
                <c:pt idx="468">
                  <c:v>41263</c:v>
                </c:pt>
                <c:pt idx="469">
                  <c:v>41264</c:v>
                </c:pt>
                <c:pt idx="470">
                  <c:v>41267</c:v>
                </c:pt>
                <c:pt idx="471">
                  <c:v>41270</c:v>
                </c:pt>
                <c:pt idx="472">
                  <c:v>41271</c:v>
                </c:pt>
                <c:pt idx="473">
                  <c:v>41274</c:v>
                </c:pt>
                <c:pt idx="474">
                  <c:v>41276</c:v>
                </c:pt>
                <c:pt idx="475">
                  <c:v>41277</c:v>
                </c:pt>
                <c:pt idx="476">
                  <c:v>41278</c:v>
                </c:pt>
                <c:pt idx="477">
                  <c:v>41281</c:v>
                </c:pt>
                <c:pt idx="478">
                  <c:v>41282</c:v>
                </c:pt>
                <c:pt idx="479">
                  <c:v>41283</c:v>
                </c:pt>
                <c:pt idx="480">
                  <c:v>41284</c:v>
                </c:pt>
                <c:pt idx="481">
                  <c:v>41285</c:v>
                </c:pt>
                <c:pt idx="482">
                  <c:v>41288</c:v>
                </c:pt>
                <c:pt idx="483">
                  <c:v>41289</c:v>
                </c:pt>
                <c:pt idx="484">
                  <c:v>41290</c:v>
                </c:pt>
                <c:pt idx="485">
                  <c:v>41291</c:v>
                </c:pt>
                <c:pt idx="486">
                  <c:v>41292</c:v>
                </c:pt>
                <c:pt idx="487">
                  <c:v>41295</c:v>
                </c:pt>
                <c:pt idx="488">
                  <c:v>41296</c:v>
                </c:pt>
                <c:pt idx="489">
                  <c:v>41297</c:v>
                </c:pt>
                <c:pt idx="490">
                  <c:v>41298</c:v>
                </c:pt>
                <c:pt idx="491">
                  <c:v>41299</c:v>
                </c:pt>
                <c:pt idx="492">
                  <c:v>41302</c:v>
                </c:pt>
                <c:pt idx="493">
                  <c:v>41303</c:v>
                </c:pt>
                <c:pt idx="494">
                  <c:v>41304</c:v>
                </c:pt>
                <c:pt idx="495">
                  <c:v>41305</c:v>
                </c:pt>
                <c:pt idx="496">
                  <c:v>41306</c:v>
                </c:pt>
                <c:pt idx="497">
                  <c:v>41309</c:v>
                </c:pt>
                <c:pt idx="498">
                  <c:v>41310</c:v>
                </c:pt>
                <c:pt idx="499">
                  <c:v>41311</c:v>
                </c:pt>
                <c:pt idx="500">
                  <c:v>41312</c:v>
                </c:pt>
                <c:pt idx="501">
                  <c:v>41313</c:v>
                </c:pt>
                <c:pt idx="502">
                  <c:v>41316</c:v>
                </c:pt>
                <c:pt idx="503">
                  <c:v>41317</c:v>
                </c:pt>
                <c:pt idx="504">
                  <c:v>41318</c:v>
                </c:pt>
                <c:pt idx="505">
                  <c:v>41319</c:v>
                </c:pt>
                <c:pt idx="506">
                  <c:v>41320</c:v>
                </c:pt>
                <c:pt idx="507">
                  <c:v>41323</c:v>
                </c:pt>
                <c:pt idx="508">
                  <c:v>41324</c:v>
                </c:pt>
                <c:pt idx="509">
                  <c:v>41325</c:v>
                </c:pt>
                <c:pt idx="510">
                  <c:v>41326</c:v>
                </c:pt>
                <c:pt idx="511">
                  <c:v>41327</c:v>
                </c:pt>
                <c:pt idx="512">
                  <c:v>41330</c:v>
                </c:pt>
                <c:pt idx="513">
                  <c:v>41331</c:v>
                </c:pt>
                <c:pt idx="514">
                  <c:v>41332</c:v>
                </c:pt>
                <c:pt idx="515">
                  <c:v>41333</c:v>
                </c:pt>
                <c:pt idx="516">
                  <c:v>41334</c:v>
                </c:pt>
                <c:pt idx="517">
                  <c:v>41337</c:v>
                </c:pt>
                <c:pt idx="518">
                  <c:v>41338</c:v>
                </c:pt>
                <c:pt idx="519">
                  <c:v>41339</c:v>
                </c:pt>
                <c:pt idx="520">
                  <c:v>41340</c:v>
                </c:pt>
                <c:pt idx="521">
                  <c:v>41341</c:v>
                </c:pt>
                <c:pt idx="522">
                  <c:v>41344</c:v>
                </c:pt>
                <c:pt idx="523">
                  <c:v>41345</c:v>
                </c:pt>
                <c:pt idx="524">
                  <c:v>41346</c:v>
                </c:pt>
                <c:pt idx="525">
                  <c:v>41347</c:v>
                </c:pt>
                <c:pt idx="526">
                  <c:v>41348</c:v>
                </c:pt>
                <c:pt idx="527">
                  <c:v>41351</c:v>
                </c:pt>
                <c:pt idx="528">
                  <c:v>41352</c:v>
                </c:pt>
                <c:pt idx="529">
                  <c:v>41353</c:v>
                </c:pt>
                <c:pt idx="530">
                  <c:v>41354</c:v>
                </c:pt>
                <c:pt idx="531">
                  <c:v>41355</c:v>
                </c:pt>
                <c:pt idx="532">
                  <c:v>41358</c:v>
                </c:pt>
                <c:pt idx="533">
                  <c:v>41359</c:v>
                </c:pt>
                <c:pt idx="534">
                  <c:v>41360</c:v>
                </c:pt>
                <c:pt idx="535">
                  <c:v>41361</c:v>
                </c:pt>
                <c:pt idx="536">
                  <c:v>41366</c:v>
                </c:pt>
                <c:pt idx="537">
                  <c:v>41367</c:v>
                </c:pt>
                <c:pt idx="538">
                  <c:v>41368</c:v>
                </c:pt>
                <c:pt idx="539">
                  <c:v>41369</c:v>
                </c:pt>
                <c:pt idx="540">
                  <c:v>41372</c:v>
                </c:pt>
                <c:pt idx="541">
                  <c:v>41373</c:v>
                </c:pt>
                <c:pt idx="542">
                  <c:v>41374</c:v>
                </c:pt>
                <c:pt idx="543">
                  <c:v>41375</c:v>
                </c:pt>
                <c:pt idx="544">
                  <c:v>41376</c:v>
                </c:pt>
                <c:pt idx="545">
                  <c:v>41379</c:v>
                </c:pt>
                <c:pt idx="546">
                  <c:v>41380</c:v>
                </c:pt>
                <c:pt idx="547">
                  <c:v>41381</c:v>
                </c:pt>
                <c:pt idx="548">
                  <c:v>41382</c:v>
                </c:pt>
                <c:pt idx="549">
                  <c:v>41383</c:v>
                </c:pt>
                <c:pt idx="550">
                  <c:v>41386</c:v>
                </c:pt>
                <c:pt idx="551">
                  <c:v>41387</c:v>
                </c:pt>
                <c:pt idx="552">
                  <c:v>41388</c:v>
                </c:pt>
                <c:pt idx="553">
                  <c:v>41389</c:v>
                </c:pt>
                <c:pt idx="554">
                  <c:v>41390</c:v>
                </c:pt>
                <c:pt idx="555">
                  <c:v>41393</c:v>
                </c:pt>
                <c:pt idx="556">
                  <c:v>41394</c:v>
                </c:pt>
                <c:pt idx="557">
                  <c:v>41395</c:v>
                </c:pt>
                <c:pt idx="558">
                  <c:v>41396</c:v>
                </c:pt>
                <c:pt idx="559">
                  <c:v>41397</c:v>
                </c:pt>
                <c:pt idx="560">
                  <c:v>41400</c:v>
                </c:pt>
                <c:pt idx="561">
                  <c:v>41401</c:v>
                </c:pt>
                <c:pt idx="562">
                  <c:v>41402</c:v>
                </c:pt>
                <c:pt idx="563">
                  <c:v>41403</c:v>
                </c:pt>
                <c:pt idx="564">
                  <c:v>41404</c:v>
                </c:pt>
                <c:pt idx="565">
                  <c:v>41407</c:v>
                </c:pt>
                <c:pt idx="566">
                  <c:v>41408</c:v>
                </c:pt>
                <c:pt idx="567">
                  <c:v>41409</c:v>
                </c:pt>
                <c:pt idx="568">
                  <c:v>41410</c:v>
                </c:pt>
                <c:pt idx="569">
                  <c:v>41411</c:v>
                </c:pt>
                <c:pt idx="570">
                  <c:v>41414</c:v>
                </c:pt>
                <c:pt idx="571">
                  <c:v>41415</c:v>
                </c:pt>
                <c:pt idx="572">
                  <c:v>41416</c:v>
                </c:pt>
                <c:pt idx="573">
                  <c:v>41417</c:v>
                </c:pt>
                <c:pt idx="574">
                  <c:v>41418</c:v>
                </c:pt>
                <c:pt idx="575">
                  <c:v>41421</c:v>
                </c:pt>
                <c:pt idx="576">
                  <c:v>41422</c:v>
                </c:pt>
                <c:pt idx="577">
                  <c:v>41423</c:v>
                </c:pt>
                <c:pt idx="578">
                  <c:v>41424</c:v>
                </c:pt>
                <c:pt idx="579">
                  <c:v>41425</c:v>
                </c:pt>
                <c:pt idx="580">
                  <c:v>41428</c:v>
                </c:pt>
                <c:pt idx="581">
                  <c:v>41429</c:v>
                </c:pt>
                <c:pt idx="582">
                  <c:v>41430</c:v>
                </c:pt>
                <c:pt idx="583">
                  <c:v>41431</c:v>
                </c:pt>
                <c:pt idx="584">
                  <c:v>41432</c:v>
                </c:pt>
                <c:pt idx="585">
                  <c:v>41435</c:v>
                </c:pt>
                <c:pt idx="586">
                  <c:v>41436</c:v>
                </c:pt>
                <c:pt idx="587">
                  <c:v>41437</c:v>
                </c:pt>
                <c:pt idx="588">
                  <c:v>41438</c:v>
                </c:pt>
                <c:pt idx="589">
                  <c:v>41439</c:v>
                </c:pt>
                <c:pt idx="590">
                  <c:v>41442</c:v>
                </c:pt>
                <c:pt idx="591">
                  <c:v>41443</c:v>
                </c:pt>
                <c:pt idx="592">
                  <c:v>41444</c:v>
                </c:pt>
                <c:pt idx="593">
                  <c:v>41445</c:v>
                </c:pt>
                <c:pt idx="594">
                  <c:v>41446</c:v>
                </c:pt>
                <c:pt idx="595">
                  <c:v>41449</c:v>
                </c:pt>
                <c:pt idx="596">
                  <c:v>41450</c:v>
                </c:pt>
                <c:pt idx="597">
                  <c:v>41451</c:v>
                </c:pt>
                <c:pt idx="598">
                  <c:v>41452</c:v>
                </c:pt>
                <c:pt idx="599">
                  <c:v>41453</c:v>
                </c:pt>
                <c:pt idx="600">
                  <c:v>41456</c:v>
                </c:pt>
                <c:pt idx="601">
                  <c:v>41457</c:v>
                </c:pt>
                <c:pt idx="602">
                  <c:v>41458</c:v>
                </c:pt>
                <c:pt idx="603">
                  <c:v>41459</c:v>
                </c:pt>
                <c:pt idx="604">
                  <c:v>41460</c:v>
                </c:pt>
                <c:pt idx="605">
                  <c:v>41463</c:v>
                </c:pt>
                <c:pt idx="606">
                  <c:v>41464</c:v>
                </c:pt>
                <c:pt idx="607">
                  <c:v>41465</c:v>
                </c:pt>
                <c:pt idx="608">
                  <c:v>41466</c:v>
                </c:pt>
                <c:pt idx="609">
                  <c:v>41467</c:v>
                </c:pt>
                <c:pt idx="610">
                  <c:v>41470</c:v>
                </c:pt>
                <c:pt idx="611">
                  <c:v>41471</c:v>
                </c:pt>
                <c:pt idx="612">
                  <c:v>41472</c:v>
                </c:pt>
                <c:pt idx="613">
                  <c:v>41473</c:v>
                </c:pt>
                <c:pt idx="614">
                  <c:v>41474</c:v>
                </c:pt>
                <c:pt idx="615">
                  <c:v>41477</c:v>
                </c:pt>
                <c:pt idx="616">
                  <c:v>41478</c:v>
                </c:pt>
                <c:pt idx="617">
                  <c:v>41479</c:v>
                </c:pt>
                <c:pt idx="618">
                  <c:v>41480</c:v>
                </c:pt>
                <c:pt idx="619">
                  <c:v>41481</c:v>
                </c:pt>
                <c:pt idx="620">
                  <c:v>41484</c:v>
                </c:pt>
                <c:pt idx="621">
                  <c:v>41485</c:v>
                </c:pt>
                <c:pt idx="622">
                  <c:v>41486</c:v>
                </c:pt>
                <c:pt idx="623">
                  <c:v>41487</c:v>
                </c:pt>
                <c:pt idx="624">
                  <c:v>41488</c:v>
                </c:pt>
                <c:pt idx="625">
                  <c:v>41491</c:v>
                </c:pt>
                <c:pt idx="626">
                  <c:v>41492</c:v>
                </c:pt>
                <c:pt idx="627">
                  <c:v>41493</c:v>
                </c:pt>
                <c:pt idx="628">
                  <c:v>41494</c:v>
                </c:pt>
                <c:pt idx="629">
                  <c:v>41495</c:v>
                </c:pt>
                <c:pt idx="630">
                  <c:v>41498</c:v>
                </c:pt>
                <c:pt idx="631">
                  <c:v>41499</c:v>
                </c:pt>
                <c:pt idx="632">
                  <c:v>41500</c:v>
                </c:pt>
                <c:pt idx="633">
                  <c:v>41501</c:v>
                </c:pt>
                <c:pt idx="634">
                  <c:v>41502</c:v>
                </c:pt>
                <c:pt idx="635">
                  <c:v>41505</c:v>
                </c:pt>
                <c:pt idx="636">
                  <c:v>41506</c:v>
                </c:pt>
                <c:pt idx="637">
                  <c:v>41507</c:v>
                </c:pt>
                <c:pt idx="638">
                  <c:v>41508</c:v>
                </c:pt>
                <c:pt idx="639">
                  <c:v>41509</c:v>
                </c:pt>
                <c:pt idx="640">
                  <c:v>41512</c:v>
                </c:pt>
                <c:pt idx="641">
                  <c:v>41513</c:v>
                </c:pt>
                <c:pt idx="642">
                  <c:v>41514</c:v>
                </c:pt>
                <c:pt idx="643">
                  <c:v>41515</c:v>
                </c:pt>
                <c:pt idx="644">
                  <c:v>41516</c:v>
                </c:pt>
                <c:pt idx="645">
                  <c:v>41519</c:v>
                </c:pt>
                <c:pt idx="646">
                  <c:v>41520</c:v>
                </c:pt>
                <c:pt idx="647">
                  <c:v>41521</c:v>
                </c:pt>
                <c:pt idx="648">
                  <c:v>41522</c:v>
                </c:pt>
                <c:pt idx="649">
                  <c:v>41523</c:v>
                </c:pt>
                <c:pt idx="650">
                  <c:v>41526</c:v>
                </c:pt>
                <c:pt idx="651">
                  <c:v>41527</c:v>
                </c:pt>
                <c:pt idx="652">
                  <c:v>41528</c:v>
                </c:pt>
                <c:pt idx="653">
                  <c:v>41529</c:v>
                </c:pt>
                <c:pt idx="654">
                  <c:v>41530</c:v>
                </c:pt>
                <c:pt idx="655">
                  <c:v>41533</c:v>
                </c:pt>
                <c:pt idx="656">
                  <c:v>41534</c:v>
                </c:pt>
                <c:pt idx="657">
                  <c:v>41535</c:v>
                </c:pt>
                <c:pt idx="658">
                  <c:v>41536</c:v>
                </c:pt>
                <c:pt idx="659">
                  <c:v>41537</c:v>
                </c:pt>
                <c:pt idx="660">
                  <c:v>41540</c:v>
                </c:pt>
                <c:pt idx="661">
                  <c:v>41541</c:v>
                </c:pt>
                <c:pt idx="662">
                  <c:v>41542</c:v>
                </c:pt>
                <c:pt idx="663">
                  <c:v>41543</c:v>
                </c:pt>
                <c:pt idx="664">
                  <c:v>41544</c:v>
                </c:pt>
                <c:pt idx="665">
                  <c:v>41547</c:v>
                </c:pt>
                <c:pt idx="666">
                  <c:v>41548</c:v>
                </c:pt>
                <c:pt idx="667">
                  <c:v>41549</c:v>
                </c:pt>
                <c:pt idx="668">
                  <c:v>41550</c:v>
                </c:pt>
                <c:pt idx="669">
                  <c:v>41551</c:v>
                </c:pt>
                <c:pt idx="670">
                  <c:v>41554</c:v>
                </c:pt>
                <c:pt idx="671">
                  <c:v>41555</c:v>
                </c:pt>
                <c:pt idx="672">
                  <c:v>41556</c:v>
                </c:pt>
                <c:pt idx="673">
                  <c:v>41557</c:v>
                </c:pt>
                <c:pt idx="674">
                  <c:v>41558</c:v>
                </c:pt>
                <c:pt idx="675">
                  <c:v>41561</c:v>
                </c:pt>
                <c:pt idx="676">
                  <c:v>41562</c:v>
                </c:pt>
                <c:pt idx="677">
                  <c:v>41563</c:v>
                </c:pt>
                <c:pt idx="678">
                  <c:v>41564</c:v>
                </c:pt>
                <c:pt idx="679">
                  <c:v>41565</c:v>
                </c:pt>
                <c:pt idx="680">
                  <c:v>41568</c:v>
                </c:pt>
                <c:pt idx="681">
                  <c:v>41569</c:v>
                </c:pt>
                <c:pt idx="682">
                  <c:v>41570</c:v>
                </c:pt>
                <c:pt idx="683">
                  <c:v>41571</c:v>
                </c:pt>
                <c:pt idx="684">
                  <c:v>41572</c:v>
                </c:pt>
                <c:pt idx="685">
                  <c:v>41575</c:v>
                </c:pt>
                <c:pt idx="686">
                  <c:v>41576</c:v>
                </c:pt>
                <c:pt idx="687">
                  <c:v>41577</c:v>
                </c:pt>
                <c:pt idx="688">
                  <c:v>41578</c:v>
                </c:pt>
                <c:pt idx="689">
                  <c:v>41579</c:v>
                </c:pt>
                <c:pt idx="690">
                  <c:v>41582</c:v>
                </c:pt>
                <c:pt idx="691">
                  <c:v>41583</c:v>
                </c:pt>
                <c:pt idx="692">
                  <c:v>41584</c:v>
                </c:pt>
                <c:pt idx="693">
                  <c:v>41585</c:v>
                </c:pt>
                <c:pt idx="694">
                  <c:v>41586</c:v>
                </c:pt>
                <c:pt idx="695">
                  <c:v>41589</c:v>
                </c:pt>
                <c:pt idx="696">
                  <c:v>41590</c:v>
                </c:pt>
                <c:pt idx="697">
                  <c:v>41591</c:v>
                </c:pt>
                <c:pt idx="698">
                  <c:v>41592</c:v>
                </c:pt>
                <c:pt idx="699">
                  <c:v>41593</c:v>
                </c:pt>
                <c:pt idx="700">
                  <c:v>41596</c:v>
                </c:pt>
                <c:pt idx="701">
                  <c:v>41597</c:v>
                </c:pt>
                <c:pt idx="702">
                  <c:v>41598</c:v>
                </c:pt>
                <c:pt idx="703">
                  <c:v>41599</c:v>
                </c:pt>
                <c:pt idx="704">
                  <c:v>41600</c:v>
                </c:pt>
                <c:pt idx="705">
                  <c:v>41603</c:v>
                </c:pt>
                <c:pt idx="706">
                  <c:v>41604</c:v>
                </c:pt>
                <c:pt idx="707">
                  <c:v>41605</c:v>
                </c:pt>
                <c:pt idx="708">
                  <c:v>41606</c:v>
                </c:pt>
                <c:pt idx="709">
                  <c:v>41607</c:v>
                </c:pt>
                <c:pt idx="710">
                  <c:v>41610</c:v>
                </c:pt>
                <c:pt idx="711">
                  <c:v>41611</c:v>
                </c:pt>
                <c:pt idx="712">
                  <c:v>41612</c:v>
                </c:pt>
                <c:pt idx="713">
                  <c:v>41613</c:v>
                </c:pt>
                <c:pt idx="714">
                  <c:v>41614</c:v>
                </c:pt>
                <c:pt idx="715">
                  <c:v>41617</c:v>
                </c:pt>
                <c:pt idx="716">
                  <c:v>41618</c:v>
                </c:pt>
                <c:pt idx="717">
                  <c:v>41619</c:v>
                </c:pt>
                <c:pt idx="718">
                  <c:v>41620</c:v>
                </c:pt>
                <c:pt idx="719">
                  <c:v>41621</c:v>
                </c:pt>
                <c:pt idx="720">
                  <c:v>41624</c:v>
                </c:pt>
                <c:pt idx="721">
                  <c:v>41625</c:v>
                </c:pt>
                <c:pt idx="722">
                  <c:v>41626</c:v>
                </c:pt>
                <c:pt idx="723">
                  <c:v>41627</c:v>
                </c:pt>
                <c:pt idx="724">
                  <c:v>41628</c:v>
                </c:pt>
                <c:pt idx="725">
                  <c:v>41631</c:v>
                </c:pt>
                <c:pt idx="726">
                  <c:v>41632</c:v>
                </c:pt>
                <c:pt idx="727">
                  <c:v>41635</c:v>
                </c:pt>
                <c:pt idx="728">
                  <c:v>41638</c:v>
                </c:pt>
                <c:pt idx="729">
                  <c:v>41639</c:v>
                </c:pt>
                <c:pt idx="730">
                  <c:v>41641</c:v>
                </c:pt>
                <c:pt idx="731">
                  <c:v>41642</c:v>
                </c:pt>
                <c:pt idx="732">
                  <c:v>41645</c:v>
                </c:pt>
                <c:pt idx="733">
                  <c:v>41646</c:v>
                </c:pt>
                <c:pt idx="734">
                  <c:v>41647</c:v>
                </c:pt>
                <c:pt idx="735">
                  <c:v>41648</c:v>
                </c:pt>
                <c:pt idx="736">
                  <c:v>41649</c:v>
                </c:pt>
                <c:pt idx="737">
                  <c:v>41652</c:v>
                </c:pt>
                <c:pt idx="738">
                  <c:v>41653</c:v>
                </c:pt>
                <c:pt idx="739">
                  <c:v>41654</c:v>
                </c:pt>
                <c:pt idx="740">
                  <c:v>41655</c:v>
                </c:pt>
                <c:pt idx="741">
                  <c:v>41656</c:v>
                </c:pt>
                <c:pt idx="742">
                  <c:v>41659</c:v>
                </c:pt>
                <c:pt idx="743">
                  <c:v>41660</c:v>
                </c:pt>
                <c:pt idx="744">
                  <c:v>41661</c:v>
                </c:pt>
                <c:pt idx="745">
                  <c:v>41662</c:v>
                </c:pt>
                <c:pt idx="746">
                  <c:v>41663</c:v>
                </c:pt>
                <c:pt idx="747">
                  <c:v>41666</c:v>
                </c:pt>
                <c:pt idx="748">
                  <c:v>41667</c:v>
                </c:pt>
                <c:pt idx="749">
                  <c:v>41668</c:v>
                </c:pt>
                <c:pt idx="750">
                  <c:v>41669</c:v>
                </c:pt>
                <c:pt idx="751">
                  <c:v>41670</c:v>
                </c:pt>
                <c:pt idx="752">
                  <c:v>41673</c:v>
                </c:pt>
                <c:pt idx="753">
                  <c:v>41674</c:v>
                </c:pt>
                <c:pt idx="754">
                  <c:v>41675</c:v>
                </c:pt>
                <c:pt idx="755">
                  <c:v>41676</c:v>
                </c:pt>
                <c:pt idx="756">
                  <c:v>41677</c:v>
                </c:pt>
                <c:pt idx="757">
                  <c:v>41680</c:v>
                </c:pt>
                <c:pt idx="758">
                  <c:v>41681</c:v>
                </c:pt>
                <c:pt idx="759">
                  <c:v>41682</c:v>
                </c:pt>
                <c:pt idx="760">
                  <c:v>41683</c:v>
                </c:pt>
                <c:pt idx="761">
                  <c:v>41684</c:v>
                </c:pt>
                <c:pt idx="762">
                  <c:v>41687</c:v>
                </c:pt>
                <c:pt idx="763">
                  <c:v>41688</c:v>
                </c:pt>
                <c:pt idx="764">
                  <c:v>41689</c:v>
                </c:pt>
                <c:pt idx="765">
                  <c:v>41690</c:v>
                </c:pt>
                <c:pt idx="766">
                  <c:v>41691</c:v>
                </c:pt>
                <c:pt idx="767">
                  <c:v>41694</c:v>
                </c:pt>
                <c:pt idx="768">
                  <c:v>41695</c:v>
                </c:pt>
                <c:pt idx="769">
                  <c:v>41696</c:v>
                </c:pt>
                <c:pt idx="770">
                  <c:v>41697</c:v>
                </c:pt>
                <c:pt idx="771">
                  <c:v>41698</c:v>
                </c:pt>
                <c:pt idx="772">
                  <c:v>41701</c:v>
                </c:pt>
                <c:pt idx="773">
                  <c:v>41702</c:v>
                </c:pt>
                <c:pt idx="774">
                  <c:v>41703</c:v>
                </c:pt>
                <c:pt idx="775">
                  <c:v>41704</c:v>
                </c:pt>
                <c:pt idx="776">
                  <c:v>41705</c:v>
                </c:pt>
                <c:pt idx="777">
                  <c:v>41708</c:v>
                </c:pt>
                <c:pt idx="778">
                  <c:v>41709</c:v>
                </c:pt>
                <c:pt idx="779">
                  <c:v>41710</c:v>
                </c:pt>
                <c:pt idx="780">
                  <c:v>41711</c:v>
                </c:pt>
                <c:pt idx="781">
                  <c:v>41712</c:v>
                </c:pt>
                <c:pt idx="782">
                  <c:v>41715</c:v>
                </c:pt>
                <c:pt idx="783">
                  <c:v>41716</c:v>
                </c:pt>
                <c:pt idx="784">
                  <c:v>41717</c:v>
                </c:pt>
                <c:pt idx="785">
                  <c:v>41718</c:v>
                </c:pt>
                <c:pt idx="786">
                  <c:v>41719</c:v>
                </c:pt>
                <c:pt idx="787">
                  <c:v>41722</c:v>
                </c:pt>
                <c:pt idx="788">
                  <c:v>41723</c:v>
                </c:pt>
                <c:pt idx="789">
                  <c:v>41724</c:v>
                </c:pt>
                <c:pt idx="790">
                  <c:v>41725</c:v>
                </c:pt>
                <c:pt idx="791">
                  <c:v>41726</c:v>
                </c:pt>
                <c:pt idx="792">
                  <c:v>41729</c:v>
                </c:pt>
                <c:pt idx="793">
                  <c:v>41730</c:v>
                </c:pt>
                <c:pt idx="794">
                  <c:v>41731</c:v>
                </c:pt>
                <c:pt idx="795">
                  <c:v>41732</c:v>
                </c:pt>
                <c:pt idx="796">
                  <c:v>41733</c:v>
                </c:pt>
                <c:pt idx="797">
                  <c:v>41736</c:v>
                </c:pt>
                <c:pt idx="798">
                  <c:v>41737</c:v>
                </c:pt>
                <c:pt idx="799">
                  <c:v>41738</c:v>
                </c:pt>
                <c:pt idx="800">
                  <c:v>41739</c:v>
                </c:pt>
                <c:pt idx="801">
                  <c:v>41740</c:v>
                </c:pt>
                <c:pt idx="802">
                  <c:v>41743</c:v>
                </c:pt>
                <c:pt idx="803">
                  <c:v>41744</c:v>
                </c:pt>
                <c:pt idx="804">
                  <c:v>41745</c:v>
                </c:pt>
                <c:pt idx="805">
                  <c:v>41746</c:v>
                </c:pt>
                <c:pt idx="806">
                  <c:v>41751</c:v>
                </c:pt>
                <c:pt idx="807">
                  <c:v>41752</c:v>
                </c:pt>
                <c:pt idx="808">
                  <c:v>41753</c:v>
                </c:pt>
                <c:pt idx="809">
                  <c:v>41754</c:v>
                </c:pt>
                <c:pt idx="810">
                  <c:v>41757</c:v>
                </c:pt>
                <c:pt idx="811">
                  <c:v>41758</c:v>
                </c:pt>
                <c:pt idx="812">
                  <c:v>41759</c:v>
                </c:pt>
                <c:pt idx="813">
                  <c:v>41760</c:v>
                </c:pt>
                <c:pt idx="814">
                  <c:v>41761</c:v>
                </c:pt>
                <c:pt idx="815">
                  <c:v>41764</c:v>
                </c:pt>
                <c:pt idx="816">
                  <c:v>41765</c:v>
                </c:pt>
                <c:pt idx="817">
                  <c:v>41766</c:v>
                </c:pt>
                <c:pt idx="818">
                  <c:v>41767</c:v>
                </c:pt>
                <c:pt idx="819">
                  <c:v>41768</c:v>
                </c:pt>
                <c:pt idx="820">
                  <c:v>41771</c:v>
                </c:pt>
                <c:pt idx="821">
                  <c:v>41772</c:v>
                </c:pt>
                <c:pt idx="822">
                  <c:v>41773</c:v>
                </c:pt>
                <c:pt idx="823">
                  <c:v>41774</c:v>
                </c:pt>
                <c:pt idx="824">
                  <c:v>41775</c:v>
                </c:pt>
                <c:pt idx="825">
                  <c:v>41778</c:v>
                </c:pt>
                <c:pt idx="826">
                  <c:v>41779</c:v>
                </c:pt>
                <c:pt idx="827">
                  <c:v>41780</c:v>
                </c:pt>
                <c:pt idx="828">
                  <c:v>41781</c:v>
                </c:pt>
                <c:pt idx="829">
                  <c:v>41782</c:v>
                </c:pt>
                <c:pt idx="830">
                  <c:v>41785</c:v>
                </c:pt>
                <c:pt idx="831">
                  <c:v>41786</c:v>
                </c:pt>
                <c:pt idx="832">
                  <c:v>41787</c:v>
                </c:pt>
                <c:pt idx="833">
                  <c:v>41788</c:v>
                </c:pt>
                <c:pt idx="834">
                  <c:v>41789</c:v>
                </c:pt>
                <c:pt idx="835">
                  <c:v>41792</c:v>
                </c:pt>
                <c:pt idx="836">
                  <c:v>41793</c:v>
                </c:pt>
                <c:pt idx="837">
                  <c:v>41794</c:v>
                </c:pt>
                <c:pt idx="838">
                  <c:v>41795</c:v>
                </c:pt>
                <c:pt idx="839">
                  <c:v>41796</c:v>
                </c:pt>
                <c:pt idx="840">
                  <c:v>41799</c:v>
                </c:pt>
                <c:pt idx="841">
                  <c:v>41800</c:v>
                </c:pt>
                <c:pt idx="842">
                  <c:v>41801</c:v>
                </c:pt>
                <c:pt idx="843">
                  <c:v>41802</c:v>
                </c:pt>
                <c:pt idx="844">
                  <c:v>41803</c:v>
                </c:pt>
                <c:pt idx="845">
                  <c:v>41806</c:v>
                </c:pt>
                <c:pt idx="846">
                  <c:v>41807</c:v>
                </c:pt>
                <c:pt idx="847">
                  <c:v>41808</c:v>
                </c:pt>
                <c:pt idx="848">
                  <c:v>41809</c:v>
                </c:pt>
                <c:pt idx="849">
                  <c:v>41810</c:v>
                </c:pt>
                <c:pt idx="850">
                  <c:v>41813</c:v>
                </c:pt>
                <c:pt idx="851">
                  <c:v>41814</c:v>
                </c:pt>
                <c:pt idx="852">
                  <c:v>41815</c:v>
                </c:pt>
                <c:pt idx="853">
                  <c:v>41816</c:v>
                </c:pt>
                <c:pt idx="854">
                  <c:v>41817</c:v>
                </c:pt>
                <c:pt idx="855">
                  <c:v>41820</c:v>
                </c:pt>
                <c:pt idx="856">
                  <c:v>41821</c:v>
                </c:pt>
                <c:pt idx="857">
                  <c:v>41822</c:v>
                </c:pt>
                <c:pt idx="858">
                  <c:v>41823</c:v>
                </c:pt>
                <c:pt idx="859">
                  <c:v>41824</c:v>
                </c:pt>
                <c:pt idx="860">
                  <c:v>41827</c:v>
                </c:pt>
                <c:pt idx="861">
                  <c:v>41828</c:v>
                </c:pt>
                <c:pt idx="862">
                  <c:v>41829</c:v>
                </c:pt>
                <c:pt idx="863">
                  <c:v>41830</c:v>
                </c:pt>
                <c:pt idx="864">
                  <c:v>41831</c:v>
                </c:pt>
                <c:pt idx="865">
                  <c:v>41834</c:v>
                </c:pt>
                <c:pt idx="866">
                  <c:v>41835</c:v>
                </c:pt>
                <c:pt idx="867">
                  <c:v>41836</c:v>
                </c:pt>
                <c:pt idx="868">
                  <c:v>41837</c:v>
                </c:pt>
                <c:pt idx="869">
                  <c:v>41838</c:v>
                </c:pt>
                <c:pt idx="870">
                  <c:v>41841</c:v>
                </c:pt>
                <c:pt idx="871">
                  <c:v>41842</c:v>
                </c:pt>
                <c:pt idx="872">
                  <c:v>41843</c:v>
                </c:pt>
                <c:pt idx="873">
                  <c:v>41844</c:v>
                </c:pt>
                <c:pt idx="874">
                  <c:v>41845</c:v>
                </c:pt>
                <c:pt idx="875">
                  <c:v>41848</c:v>
                </c:pt>
                <c:pt idx="876">
                  <c:v>41849</c:v>
                </c:pt>
                <c:pt idx="877">
                  <c:v>41850</c:v>
                </c:pt>
                <c:pt idx="878">
                  <c:v>41851</c:v>
                </c:pt>
                <c:pt idx="879">
                  <c:v>41852</c:v>
                </c:pt>
                <c:pt idx="880">
                  <c:v>41855</c:v>
                </c:pt>
                <c:pt idx="881">
                  <c:v>41856</c:v>
                </c:pt>
                <c:pt idx="882">
                  <c:v>41857</c:v>
                </c:pt>
                <c:pt idx="883">
                  <c:v>41858</c:v>
                </c:pt>
                <c:pt idx="884">
                  <c:v>41859</c:v>
                </c:pt>
                <c:pt idx="885">
                  <c:v>41862</c:v>
                </c:pt>
                <c:pt idx="886">
                  <c:v>41863</c:v>
                </c:pt>
                <c:pt idx="887">
                  <c:v>41864</c:v>
                </c:pt>
                <c:pt idx="888">
                  <c:v>41865</c:v>
                </c:pt>
                <c:pt idx="889">
                  <c:v>41866</c:v>
                </c:pt>
                <c:pt idx="890">
                  <c:v>41869</c:v>
                </c:pt>
                <c:pt idx="891">
                  <c:v>41870</c:v>
                </c:pt>
                <c:pt idx="892">
                  <c:v>41871</c:v>
                </c:pt>
                <c:pt idx="893">
                  <c:v>41872</c:v>
                </c:pt>
                <c:pt idx="894">
                  <c:v>41873</c:v>
                </c:pt>
                <c:pt idx="895">
                  <c:v>41876</c:v>
                </c:pt>
                <c:pt idx="896">
                  <c:v>41877</c:v>
                </c:pt>
                <c:pt idx="897">
                  <c:v>41878</c:v>
                </c:pt>
                <c:pt idx="898">
                  <c:v>41879</c:v>
                </c:pt>
                <c:pt idx="899">
                  <c:v>41880</c:v>
                </c:pt>
                <c:pt idx="900">
                  <c:v>41883</c:v>
                </c:pt>
                <c:pt idx="901">
                  <c:v>41884</c:v>
                </c:pt>
                <c:pt idx="902">
                  <c:v>41885</c:v>
                </c:pt>
                <c:pt idx="903">
                  <c:v>41886</c:v>
                </c:pt>
                <c:pt idx="904">
                  <c:v>41887</c:v>
                </c:pt>
                <c:pt idx="905">
                  <c:v>41890</c:v>
                </c:pt>
                <c:pt idx="906">
                  <c:v>41891</c:v>
                </c:pt>
                <c:pt idx="907">
                  <c:v>41892</c:v>
                </c:pt>
                <c:pt idx="908">
                  <c:v>41893</c:v>
                </c:pt>
                <c:pt idx="909">
                  <c:v>41894</c:v>
                </c:pt>
                <c:pt idx="910">
                  <c:v>41897</c:v>
                </c:pt>
                <c:pt idx="911">
                  <c:v>41898</c:v>
                </c:pt>
                <c:pt idx="912">
                  <c:v>41899</c:v>
                </c:pt>
                <c:pt idx="913">
                  <c:v>41900</c:v>
                </c:pt>
                <c:pt idx="914">
                  <c:v>41901</c:v>
                </c:pt>
                <c:pt idx="915">
                  <c:v>41904</c:v>
                </c:pt>
                <c:pt idx="916">
                  <c:v>41905</c:v>
                </c:pt>
                <c:pt idx="917">
                  <c:v>41906</c:v>
                </c:pt>
                <c:pt idx="918">
                  <c:v>41907</c:v>
                </c:pt>
                <c:pt idx="919">
                  <c:v>41908</c:v>
                </c:pt>
                <c:pt idx="920">
                  <c:v>41911</c:v>
                </c:pt>
                <c:pt idx="921">
                  <c:v>41912</c:v>
                </c:pt>
                <c:pt idx="922">
                  <c:v>41913</c:v>
                </c:pt>
                <c:pt idx="923">
                  <c:v>41914</c:v>
                </c:pt>
                <c:pt idx="924">
                  <c:v>41915</c:v>
                </c:pt>
                <c:pt idx="925">
                  <c:v>41918</c:v>
                </c:pt>
                <c:pt idx="926">
                  <c:v>41919</c:v>
                </c:pt>
                <c:pt idx="927">
                  <c:v>41920</c:v>
                </c:pt>
                <c:pt idx="928">
                  <c:v>41921</c:v>
                </c:pt>
                <c:pt idx="929">
                  <c:v>41922</c:v>
                </c:pt>
                <c:pt idx="930">
                  <c:v>41925</c:v>
                </c:pt>
                <c:pt idx="931">
                  <c:v>41926</c:v>
                </c:pt>
                <c:pt idx="932">
                  <c:v>41927</c:v>
                </c:pt>
                <c:pt idx="933">
                  <c:v>41928</c:v>
                </c:pt>
                <c:pt idx="934">
                  <c:v>41929</c:v>
                </c:pt>
                <c:pt idx="935">
                  <c:v>41932</c:v>
                </c:pt>
                <c:pt idx="936">
                  <c:v>41933</c:v>
                </c:pt>
                <c:pt idx="937">
                  <c:v>41934</c:v>
                </c:pt>
                <c:pt idx="938">
                  <c:v>41935</c:v>
                </c:pt>
                <c:pt idx="939">
                  <c:v>41936</c:v>
                </c:pt>
                <c:pt idx="940">
                  <c:v>41939</c:v>
                </c:pt>
                <c:pt idx="941">
                  <c:v>41940</c:v>
                </c:pt>
                <c:pt idx="942">
                  <c:v>41941</c:v>
                </c:pt>
                <c:pt idx="943">
                  <c:v>41942</c:v>
                </c:pt>
                <c:pt idx="944">
                  <c:v>41943</c:v>
                </c:pt>
                <c:pt idx="945">
                  <c:v>41946</c:v>
                </c:pt>
                <c:pt idx="946">
                  <c:v>41947</c:v>
                </c:pt>
                <c:pt idx="947">
                  <c:v>41948</c:v>
                </c:pt>
                <c:pt idx="948">
                  <c:v>41949</c:v>
                </c:pt>
                <c:pt idx="949">
                  <c:v>41950</c:v>
                </c:pt>
                <c:pt idx="950">
                  <c:v>41953</c:v>
                </c:pt>
                <c:pt idx="951">
                  <c:v>41954</c:v>
                </c:pt>
                <c:pt idx="952">
                  <c:v>41955</c:v>
                </c:pt>
                <c:pt idx="953">
                  <c:v>41956</c:v>
                </c:pt>
                <c:pt idx="954">
                  <c:v>41957</c:v>
                </c:pt>
                <c:pt idx="955">
                  <c:v>41960</c:v>
                </c:pt>
                <c:pt idx="956">
                  <c:v>41961</c:v>
                </c:pt>
                <c:pt idx="957">
                  <c:v>41962</c:v>
                </c:pt>
                <c:pt idx="958">
                  <c:v>41963</c:v>
                </c:pt>
                <c:pt idx="959">
                  <c:v>41964</c:v>
                </c:pt>
                <c:pt idx="960">
                  <c:v>41967</c:v>
                </c:pt>
                <c:pt idx="961">
                  <c:v>41968</c:v>
                </c:pt>
                <c:pt idx="962">
                  <c:v>41969</c:v>
                </c:pt>
                <c:pt idx="963">
                  <c:v>41970</c:v>
                </c:pt>
                <c:pt idx="964">
                  <c:v>41971</c:v>
                </c:pt>
                <c:pt idx="965">
                  <c:v>41974</c:v>
                </c:pt>
                <c:pt idx="966">
                  <c:v>41975</c:v>
                </c:pt>
                <c:pt idx="967">
                  <c:v>41976</c:v>
                </c:pt>
                <c:pt idx="968">
                  <c:v>41977</c:v>
                </c:pt>
                <c:pt idx="969">
                  <c:v>41978</c:v>
                </c:pt>
                <c:pt idx="970">
                  <c:v>41981</c:v>
                </c:pt>
                <c:pt idx="971">
                  <c:v>41982</c:v>
                </c:pt>
                <c:pt idx="972">
                  <c:v>41983</c:v>
                </c:pt>
                <c:pt idx="973">
                  <c:v>41984</c:v>
                </c:pt>
                <c:pt idx="974">
                  <c:v>41985</c:v>
                </c:pt>
                <c:pt idx="975">
                  <c:v>41988</c:v>
                </c:pt>
                <c:pt idx="976">
                  <c:v>41989</c:v>
                </c:pt>
                <c:pt idx="977">
                  <c:v>41990</c:v>
                </c:pt>
                <c:pt idx="978">
                  <c:v>41991</c:v>
                </c:pt>
                <c:pt idx="979">
                  <c:v>41992</c:v>
                </c:pt>
                <c:pt idx="980">
                  <c:v>41995</c:v>
                </c:pt>
                <c:pt idx="981">
                  <c:v>41996</c:v>
                </c:pt>
                <c:pt idx="982">
                  <c:v>41997</c:v>
                </c:pt>
                <c:pt idx="983">
                  <c:v>42002</c:v>
                </c:pt>
                <c:pt idx="984">
                  <c:v>42003</c:v>
                </c:pt>
                <c:pt idx="985">
                  <c:v>42004</c:v>
                </c:pt>
                <c:pt idx="986">
                  <c:v>42006</c:v>
                </c:pt>
                <c:pt idx="987">
                  <c:v>42009</c:v>
                </c:pt>
                <c:pt idx="988">
                  <c:v>42010</c:v>
                </c:pt>
                <c:pt idx="989">
                  <c:v>42011</c:v>
                </c:pt>
                <c:pt idx="990">
                  <c:v>42012</c:v>
                </c:pt>
                <c:pt idx="991">
                  <c:v>42013</c:v>
                </c:pt>
                <c:pt idx="992">
                  <c:v>42016</c:v>
                </c:pt>
                <c:pt idx="993">
                  <c:v>42017</c:v>
                </c:pt>
                <c:pt idx="994">
                  <c:v>42018</c:v>
                </c:pt>
                <c:pt idx="995">
                  <c:v>42019</c:v>
                </c:pt>
                <c:pt idx="996">
                  <c:v>42020</c:v>
                </c:pt>
                <c:pt idx="997">
                  <c:v>42023</c:v>
                </c:pt>
                <c:pt idx="998">
                  <c:v>42024</c:v>
                </c:pt>
                <c:pt idx="999">
                  <c:v>42025</c:v>
                </c:pt>
                <c:pt idx="1000">
                  <c:v>42026</c:v>
                </c:pt>
                <c:pt idx="1001">
                  <c:v>42027</c:v>
                </c:pt>
                <c:pt idx="1002">
                  <c:v>42030</c:v>
                </c:pt>
                <c:pt idx="1003">
                  <c:v>42031</c:v>
                </c:pt>
                <c:pt idx="1004">
                  <c:v>42032</c:v>
                </c:pt>
                <c:pt idx="1005">
                  <c:v>42033</c:v>
                </c:pt>
                <c:pt idx="1006">
                  <c:v>42034</c:v>
                </c:pt>
                <c:pt idx="1007">
                  <c:v>42037</c:v>
                </c:pt>
                <c:pt idx="1008">
                  <c:v>42038</c:v>
                </c:pt>
                <c:pt idx="1009">
                  <c:v>42039</c:v>
                </c:pt>
                <c:pt idx="1010">
                  <c:v>42040</c:v>
                </c:pt>
                <c:pt idx="1011">
                  <c:v>42041</c:v>
                </c:pt>
                <c:pt idx="1012">
                  <c:v>42044</c:v>
                </c:pt>
                <c:pt idx="1013">
                  <c:v>42045</c:v>
                </c:pt>
                <c:pt idx="1014">
                  <c:v>42046</c:v>
                </c:pt>
                <c:pt idx="1015">
                  <c:v>42047</c:v>
                </c:pt>
                <c:pt idx="1016">
                  <c:v>42048</c:v>
                </c:pt>
                <c:pt idx="1017">
                  <c:v>42051</c:v>
                </c:pt>
                <c:pt idx="1018">
                  <c:v>42052</c:v>
                </c:pt>
                <c:pt idx="1019">
                  <c:v>42053</c:v>
                </c:pt>
                <c:pt idx="1020">
                  <c:v>42054</c:v>
                </c:pt>
                <c:pt idx="1021">
                  <c:v>42055</c:v>
                </c:pt>
                <c:pt idx="1022">
                  <c:v>42058</c:v>
                </c:pt>
                <c:pt idx="1023">
                  <c:v>42059</c:v>
                </c:pt>
                <c:pt idx="1024">
                  <c:v>42060</c:v>
                </c:pt>
                <c:pt idx="1025">
                  <c:v>42061</c:v>
                </c:pt>
                <c:pt idx="1026">
                  <c:v>42062</c:v>
                </c:pt>
                <c:pt idx="1027">
                  <c:v>42065</c:v>
                </c:pt>
                <c:pt idx="1028">
                  <c:v>42066</c:v>
                </c:pt>
                <c:pt idx="1029">
                  <c:v>42067</c:v>
                </c:pt>
                <c:pt idx="1030">
                  <c:v>42068</c:v>
                </c:pt>
                <c:pt idx="1031">
                  <c:v>42069</c:v>
                </c:pt>
                <c:pt idx="1032">
                  <c:v>42072</c:v>
                </c:pt>
                <c:pt idx="1033">
                  <c:v>42073</c:v>
                </c:pt>
                <c:pt idx="1034">
                  <c:v>42074</c:v>
                </c:pt>
                <c:pt idx="1035">
                  <c:v>42075</c:v>
                </c:pt>
                <c:pt idx="1036">
                  <c:v>42076</c:v>
                </c:pt>
                <c:pt idx="1037">
                  <c:v>42079</c:v>
                </c:pt>
                <c:pt idx="1038">
                  <c:v>42080</c:v>
                </c:pt>
                <c:pt idx="1039">
                  <c:v>42081</c:v>
                </c:pt>
                <c:pt idx="1040">
                  <c:v>42082</c:v>
                </c:pt>
                <c:pt idx="1041">
                  <c:v>42083</c:v>
                </c:pt>
                <c:pt idx="1042">
                  <c:v>42086</c:v>
                </c:pt>
                <c:pt idx="1043">
                  <c:v>42087</c:v>
                </c:pt>
                <c:pt idx="1044">
                  <c:v>42088</c:v>
                </c:pt>
                <c:pt idx="1045">
                  <c:v>42089</c:v>
                </c:pt>
                <c:pt idx="1046">
                  <c:v>42090</c:v>
                </c:pt>
                <c:pt idx="1047">
                  <c:v>42093</c:v>
                </c:pt>
                <c:pt idx="1048">
                  <c:v>42094</c:v>
                </c:pt>
                <c:pt idx="1049">
                  <c:v>42095</c:v>
                </c:pt>
                <c:pt idx="1050">
                  <c:v>42096</c:v>
                </c:pt>
                <c:pt idx="1051">
                  <c:v>42101</c:v>
                </c:pt>
                <c:pt idx="1052">
                  <c:v>42102</c:v>
                </c:pt>
                <c:pt idx="1053">
                  <c:v>42103</c:v>
                </c:pt>
                <c:pt idx="1054">
                  <c:v>42104</c:v>
                </c:pt>
                <c:pt idx="1055">
                  <c:v>42107</c:v>
                </c:pt>
                <c:pt idx="1056">
                  <c:v>42108</c:v>
                </c:pt>
                <c:pt idx="1057">
                  <c:v>42109</c:v>
                </c:pt>
                <c:pt idx="1058">
                  <c:v>42110</c:v>
                </c:pt>
                <c:pt idx="1059">
                  <c:v>42111</c:v>
                </c:pt>
                <c:pt idx="1060">
                  <c:v>42114</c:v>
                </c:pt>
                <c:pt idx="1061">
                  <c:v>42115</c:v>
                </c:pt>
                <c:pt idx="1062">
                  <c:v>42116</c:v>
                </c:pt>
                <c:pt idx="1063">
                  <c:v>42117</c:v>
                </c:pt>
                <c:pt idx="1064">
                  <c:v>42118</c:v>
                </c:pt>
                <c:pt idx="1065">
                  <c:v>42121</c:v>
                </c:pt>
                <c:pt idx="1066">
                  <c:v>42122</c:v>
                </c:pt>
                <c:pt idx="1067">
                  <c:v>42123</c:v>
                </c:pt>
                <c:pt idx="1068">
                  <c:v>42124</c:v>
                </c:pt>
                <c:pt idx="1069">
                  <c:v>42125</c:v>
                </c:pt>
                <c:pt idx="1070">
                  <c:v>42128</c:v>
                </c:pt>
                <c:pt idx="1071">
                  <c:v>42129</c:v>
                </c:pt>
                <c:pt idx="1072">
                  <c:v>42130</c:v>
                </c:pt>
                <c:pt idx="1073">
                  <c:v>42131</c:v>
                </c:pt>
                <c:pt idx="1074">
                  <c:v>42132</c:v>
                </c:pt>
                <c:pt idx="1075">
                  <c:v>42135</c:v>
                </c:pt>
                <c:pt idx="1076">
                  <c:v>42136</c:v>
                </c:pt>
                <c:pt idx="1077">
                  <c:v>42137</c:v>
                </c:pt>
                <c:pt idx="1078">
                  <c:v>42138</c:v>
                </c:pt>
                <c:pt idx="1079">
                  <c:v>42139</c:v>
                </c:pt>
                <c:pt idx="1080">
                  <c:v>42142</c:v>
                </c:pt>
                <c:pt idx="1081">
                  <c:v>42143</c:v>
                </c:pt>
                <c:pt idx="1082">
                  <c:v>42144</c:v>
                </c:pt>
                <c:pt idx="1083">
                  <c:v>42145</c:v>
                </c:pt>
                <c:pt idx="1084">
                  <c:v>42146</c:v>
                </c:pt>
                <c:pt idx="1085">
                  <c:v>42149</c:v>
                </c:pt>
                <c:pt idx="1086">
                  <c:v>42150</c:v>
                </c:pt>
                <c:pt idx="1087">
                  <c:v>42151</c:v>
                </c:pt>
                <c:pt idx="1088">
                  <c:v>42152</c:v>
                </c:pt>
                <c:pt idx="1089">
                  <c:v>42153</c:v>
                </c:pt>
                <c:pt idx="1090">
                  <c:v>42156</c:v>
                </c:pt>
                <c:pt idx="1091">
                  <c:v>42157</c:v>
                </c:pt>
                <c:pt idx="1092">
                  <c:v>42158</c:v>
                </c:pt>
                <c:pt idx="1093">
                  <c:v>42159</c:v>
                </c:pt>
                <c:pt idx="1094">
                  <c:v>42160</c:v>
                </c:pt>
                <c:pt idx="1095">
                  <c:v>42163</c:v>
                </c:pt>
                <c:pt idx="1096">
                  <c:v>42164</c:v>
                </c:pt>
                <c:pt idx="1097">
                  <c:v>42165</c:v>
                </c:pt>
                <c:pt idx="1098">
                  <c:v>42166</c:v>
                </c:pt>
                <c:pt idx="1099">
                  <c:v>42167</c:v>
                </c:pt>
                <c:pt idx="1100">
                  <c:v>42170</c:v>
                </c:pt>
                <c:pt idx="1101">
                  <c:v>42171</c:v>
                </c:pt>
                <c:pt idx="1102">
                  <c:v>42172</c:v>
                </c:pt>
                <c:pt idx="1103">
                  <c:v>42173</c:v>
                </c:pt>
                <c:pt idx="1104">
                  <c:v>42174</c:v>
                </c:pt>
                <c:pt idx="1105">
                  <c:v>42177</c:v>
                </c:pt>
                <c:pt idx="1106">
                  <c:v>42178</c:v>
                </c:pt>
                <c:pt idx="1107">
                  <c:v>42179</c:v>
                </c:pt>
                <c:pt idx="1108">
                  <c:v>42180</c:v>
                </c:pt>
                <c:pt idx="1109">
                  <c:v>42181</c:v>
                </c:pt>
                <c:pt idx="1110">
                  <c:v>42184</c:v>
                </c:pt>
                <c:pt idx="1111">
                  <c:v>42185</c:v>
                </c:pt>
                <c:pt idx="1112">
                  <c:v>42186</c:v>
                </c:pt>
                <c:pt idx="1113">
                  <c:v>42187</c:v>
                </c:pt>
                <c:pt idx="1114">
                  <c:v>42188</c:v>
                </c:pt>
                <c:pt idx="1115">
                  <c:v>42191</c:v>
                </c:pt>
                <c:pt idx="1116">
                  <c:v>42192</c:v>
                </c:pt>
                <c:pt idx="1117">
                  <c:v>42193</c:v>
                </c:pt>
                <c:pt idx="1118">
                  <c:v>42194</c:v>
                </c:pt>
                <c:pt idx="1119">
                  <c:v>42195</c:v>
                </c:pt>
                <c:pt idx="1120">
                  <c:v>42198</c:v>
                </c:pt>
                <c:pt idx="1121">
                  <c:v>42199</c:v>
                </c:pt>
                <c:pt idx="1122">
                  <c:v>42200</c:v>
                </c:pt>
                <c:pt idx="1123">
                  <c:v>42201</c:v>
                </c:pt>
                <c:pt idx="1124">
                  <c:v>42202</c:v>
                </c:pt>
                <c:pt idx="1125">
                  <c:v>42205</c:v>
                </c:pt>
                <c:pt idx="1126">
                  <c:v>42206</c:v>
                </c:pt>
                <c:pt idx="1127">
                  <c:v>42207</c:v>
                </c:pt>
                <c:pt idx="1128">
                  <c:v>42208</c:v>
                </c:pt>
                <c:pt idx="1129">
                  <c:v>42209</c:v>
                </c:pt>
                <c:pt idx="1130">
                  <c:v>42212</c:v>
                </c:pt>
                <c:pt idx="1131">
                  <c:v>42213</c:v>
                </c:pt>
                <c:pt idx="1132">
                  <c:v>42214</c:v>
                </c:pt>
                <c:pt idx="1133">
                  <c:v>42215</c:v>
                </c:pt>
                <c:pt idx="1134">
                  <c:v>42216</c:v>
                </c:pt>
                <c:pt idx="1135">
                  <c:v>42219</c:v>
                </c:pt>
                <c:pt idx="1136">
                  <c:v>42220</c:v>
                </c:pt>
                <c:pt idx="1137">
                  <c:v>42221</c:v>
                </c:pt>
                <c:pt idx="1138">
                  <c:v>42222</c:v>
                </c:pt>
                <c:pt idx="1139">
                  <c:v>42223</c:v>
                </c:pt>
                <c:pt idx="1140">
                  <c:v>42226</c:v>
                </c:pt>
                <c:pt idx="1141">
                  <c:v>42227</c:v>
                </c:pt>
                <c:pt idx="1142">
                  <c:v>42228</c:v>
                </c:pt>
                <c:pt idx="1143">
                  <c:v>42229</c:v>
                </c:pt>
                <c:pt idx="1144">
                  <c:v>42230</c:v>
                </c:pt>
                <c:pt idx="1145">
                  <c:v>42233</c:v>
                </c:pt>
                <c:pt idx="1146">
                  <c:v>42234</c:v>
                </c:pt>
                <c:pt idx="1147">
                  <c:v>42235</c:v>
                </c:pt>
                <c:pt idx="1148">
                  <c:v>42236</c:v>
                </c:pt>
                <c:pt idx="1149">
                  <c:v>42237</c:v>
                </c:pt>
                <c:pt idx="1150">
                  <c:v>42240</c:v>
                </c:pt>
                <c:pt idx="1151">
                  <c:v>42241</c:v>
                </c:pt>
                <c:pt idx="1152">
                  <c:v>42242</c:v>
                </c:pt>
                <c:pt idx="1153">
                  <c:v>42243</c:v>
                </c:pt>
                <c:pt idx="1154">
                  <c:v>42244</c:v>
                </c:pt>
                <c:pt idx="1155">
                  <c:v>42247</c:v>
                </c:pt>
                <c:pt idx="1156">
                  <c:v>42248</c:v>
                </c:pt>
                <c:pt idx="1157">
                  <c:v>42249</c:v>
                </c:pt>
                <c:pt idx="1158">
                  <c:v>42250</c:v>
                </c:pt>
                <c:pt idx="1159">
                  <c:v>42251</c:v>
                </c:pt>
                <c:pt idx="1160">
                  <c:v>42254</c:v>
                </c:pt>
                <c:pt idx="1161">
                  <c:v>42255</c:v>
                </c:pt>
                <c:pt idx="1162">
                  <c:v>42256</c:v>
                </c:pt>
                <c:pt idx="1163">
                  <c:v>42257</c:v>
                </c:pt>
                <c:pt idx="1164">
                  <c:v>42258</c:v>
                </c:pt>
                <c:pt idx="1165">
                  <c:v>42261</c:v>
                </c:pt>
                <c:pt idx="1166">
                  <c:v>42262</c:v>
                </c:pt>
                <c:pt idx="1167">
                  <c:v>42263</c:v>
                </c:pt>
                <c:pt idx="1168">
                  <c:v>42264</c:v>
                </c:pt>
                <c:pt idx="1169">
                  <c:v>42265</c:v>
                </c:pt>
                <c:pt idx="1170">
                  <c:v>42268</c:v>
                </c:pt>
                <c:pt idx="1171">
                  <c:v>42269</c:v>
                </c:pt>
                <c:pt idx="1172">
                  <c:v>42270</c:v>
                </c:pt>
                <c:pt idx="1173">
                  <c:v>42271</c:v>
                </c:pt>
                <c:pt idx="1174">
                  <c:v>42272</c:v>
                </c:pt>
                <c:pt idx="1175">
                  <c:v>42275</c:v>
                </c:pt>
                <c:pt idx="1176">
                  <c:v>42276</c:v>
                </c:pt>
                <c:pt idx="1177">
                  <c:v>42277</c:v>
                </c:pt>
                <c:pt idx="1178">
                  <c:v>42278</c:v>
                </c:pt>
                <c:pt idx="1179">
                  <c:v>42279</c:v>
                </c:pt>
                <c:pt idx="1180">
                  <c:v>42282</c:v>
                </c:pt>
                <c:pt idx="1181">
                  <c:v>42283</c:v>
                </c:pt>
                <c:pt idx="1182">
                  <c:v>42284</c:v>
                </c:pt>
                <c:pt idx="1183">
                  <c:v>42285</c:v>
                </c:pt>
                <c:pt idx="1184">
                  <c:v>42286</c:v>
                </c:pt>
                <c:pt idx="1185">
                  <c:v>42289</c:v>
                </c:pt>
                <c:pt idx="1186">
                  <c:v>42290</c:v>
                </c:pt>
                <c:pt idx="1187">
                  <c:v>42291</c:v>
                </c:pt>
                <c:pt idx="1188">
                  <c:v>42292</c:v>
                </c:pt>
                <c:pt idx="1189">
                  <c:v>42293</c:v>
                </c:pt>
                <c:pt idx="1190">
                  <c:v>42296</c:v>
                </c:pt>
                <c:pt idx="1191">
                  <c:v>42297</c:v>
                </c:pt>
                <c:pt idx="1192">
                  <c:v>42298</c:v>
                </c:pt>
                <c:pt idx="1193">
                  <c:v>42299</c:v>
                </c:pt>
                <c:pt idx="1194">
                  <c:v>42300</c:v>
                </c:pt>
                <c:pt idx="1195">
                  <c:v>42303</c:v>
                </c:pt>
                <c:pt idx="1196">
                  <c:v>42304</c:v>
                </c:pt>
                <c:pt idx="1197">
                  <c:v>42305</c:v>
                </c:pt>
                <c:pt idx="1198">
                  <c:v>42306</c:v>
                </c:pt>
                <c:pt idx="1199">
                  <c:v>42307</c:v>
                </c:pt>
                <c:pt idx="1200">
                  <c:v>42310</c:v>
                </c:pt>
                <c:pt idx="1201">
                  <c:v>42311</c:v>
                </c:pt>
                <c:pt idx="1202">
                  <c:v>42312</c:v>
                </c:pt>
                <c:pt idx="1203">
                  <c:v>42313</c:v>
                </c:pt>
                <c:pt idx="1204">
                  <c:v>42314</c:v>
                </c:pt>
                <c:pt idx="1205">
                  <c:v>42317</c:v>
                </c:pt>
                <c:pt idx="1206">
                  <c:v>42318</c:v>
                </c:pt>
                <c:pt idx="1207">
                  <c:v>42319</c:v>
                </c:pt>
                <c:pt idx="1208">
                  <c:v>42320</c:v>
                </c:pt>
                <c:pt idx="1209">
                  <c:v>42321</c:v>
                </c:pt>
                <c:pt idx="1210">
                  <c:v>42324</c:v>
                </c:pt>
                <c:pt idx="1211">
                  <c:v>42325</c:v>
                </c:pt>
                <c:pt idx="1212">
                  <c:v>42326</c:v>
                </c:pt>
                <c:pt idx="1213">
                  <c:v>42327</c:v>
                </c:pt>
                <c:pt idx="1214">
                  <c:v>42328</c:v>
                </c:pt>
                <c:pt idx="1215">
                  <c:v>42331</c:v>
                </c:pt>
                <c:pt idx="1216">
                  <c:v>42332</c:v>
                </c:pt>
                <c:pt idx="1217">
                  <c:v>42333</c:v>
                </c:pt>
                <c:pt idx="1218">
                  <c:v>42334</c:v>
                </c:pt>
                <c:pt idx="1219">
                  <c:v>42335</c:v>
                </c:pt>
                <c:pt idx="1220">
                  <c:v>42338</c:v>
                </c:pt>
                <c:pt idx="1221">
                  <c:v>42339</c:v>
                </c:pt>
                <c:pt idx="1222">
                  <c:v>42340</c:v>
                </c:pt>
                <c:pt idx="1223">
                  <c:v>42341</c:v>
                </c:pt>
                <c:pt idx="1224">
                  <c:v>42342</c:v>
                </c:pt>
                <c:pt idx="1225">
                  <c:v>42345</c:v>
                </c:pt>
                <c:pt idx="1226">
                  <c:v>42346</c:v>
                </c:pt>
                <c:pt idx="1227">
                  <c:v>42347</c:v>
                </c:pt>
                <c:pt idx="1228">
                  <c:v>42348</c:v>
                </c:pt>
                <c:pt idx="1229">
                  <c:v>42349</c:v>
                </c:pt>
                <c:pt idx="1230">
                  <c:v>42352</c:v>
                </c:pt>
                <c:pt idx="1231">
                  <c:v>42353</c:v>
                </c:pt>
                <c:pt idx="1232">
                  <c:v>42354</c:v>
                </c:pt>
                <c:pt idx="1233">
                  <c:v>42355</c:v>
                </c:pt>
                <c:pt idx="1234">
                  <c:v>42356</c:v>
                </c:pt>
                <c:pt idx="1235">
                  <c:v>42359</c:v>
                </c:pt>
                <c:pt idx="1236">
                  <c:v>42360</c:v>
                </c:pt>
                <c:pt idx="1237">
                  <c:v>42361</c:v>
                </c:pt>
                <c:pt idx="1238">
                  <c:v>42362</c:v>
                </c:pt>
                <c:pt idx="1239">
                  <c:v>42366</c:v>
                </c:pt>
                <c:pt idx="1240">
                  <c:v>42367</c:v>
                </c:pt>
                <c:pt idx="1241">
                  <c:v>42368</c:v>
                </c:pt>
                <c:pt idx="1242">
                  <c:v>42369</c:v>
                </c:pt>
                <c:pt idx="1243">
                  <c:v>42373</c:v>
                </c:pt>
                <c:pt idx="1244">
                  <c:v>42374</c:v>
                </c:pt>
                <c:pt idx="1245">
                  <c:v>42375</c:v>
                </c:pt>
              </c:numCache>
            </c:numRef>
          </c:cat>
          <c:val>
            <c:numRef>
              <c:f>Sheet1!$B$2:$B$1247</c:f>
              <c:numCache>
                <c:formatCode>General</c:formatCode>
                <c:ptCount val="1246"/>
                <c:pt idx="0">
                  <c:v>100</c:v>
                </c:pt>
                <c:pt idx="1">
                  <c:v>99.518814527100005</c:v>
                </c:pt>
                <c:pt idx="2">
                  <c:v>99.377436580099996</c:v>
                </c:pt>
                <c:pt idx="3">
                  <c:v>99.589628613900004</c:v>
                </c:pt>
                <c:pt idx="4">
                  <c:v>99.796816118600006</c:v>
                </c:pt>
                <c:pt idx="5">
                  <c:v>99.693222366200004</c:v>
                </c:pt>
                <c:pt idx="6">
                  <c:v>100.07131454</c:v>
                </c:pt>
                <c:pt idx="7">
                  <c:v>100.36483017099999</c:v>
                </c:pt>
                <c:pt idx="8">
                  <c:v>98.912265600400005</c:v>
                </c:pt>
                <c:pt idx="9">
                  <c:v>98.339997697900003</c:v>
                </c:pt>
                <c:pt idx="10">
                  <c:v>97.984425905400002</c:v>
                </c:pt>
                <c:pt idx="11">
                  <c:v>95.843488356999998</c:v>
                </c:pt>
                <c:pt idx="12">
                  <c:v>95.065784535000006</c:v>
                </c:pt>
                <c:pt idx="13">
                  <c:v>95.931317842599995</c:v>
                </c:pt>
                <c:pt idx="14">
                  <c:v>96.6752410932</c:v>
                </c:pt>
                <c:pt idx="15">
                  <c:v>98.273187234399998</c:v>
                </c:pt>
                <c:pt idx="16">
                  <c:v>98.731602099900002</c:v>
                </c:pt>
                <c:pt idx="17">
                  <c:v>98.606488872400007</c:v>
                </c:pt>
                <c:pt idx="18">
                  <c:v>99.329643327200003</c:v>
                </c:pt>
                <c:pt idx="19">
                  <c:v>99.400457414000002</c:v>
                </c:pt>
                <c:pt idx="20">
                  <c:v>99.255075843599997</c:v>
                </c:pt>
                <c:pt idx="21">
                  <c:v>99.392199940899999</c:v>
                </c:pt>
                <c:pt idx="22">
                  <c:v>100.317036918</c:v>
                </c:pt>
                <c:pt idx="23">
                  <c:v>100.365080398</c:v>
                </c:pt>
                <c:pt idx="24">
                  <c:v>100.984140647</c:v>
                </c:pt>
                <c:pt idx="25">
                  <c:v>101.392009769</c:v>
                </c:pt>
                <c:pt idx="26">
                  <c:v>101.426040567</c:v>
                </c:pt>
                <c:pt idx="27">
                  <c:v>102.164208609</c:v>
                </c:pt>
                <c:pt idx="28">
                  <c:v>101.925742797</c:v>
                </c:pt>
                <c:pt idx="29">
                  <c:v>102.612113963</c:v>
                </c:pt>
                <c:pt idx="30">
                  <c:v>102.47373873399999</c:v>
                </c:pt>
                <c:pt idx="31">
                  <c:v>101.660502755</c:v>
                </c:pt>
                <c:pt idx="32">
                  <c:v>102.31334357599999</c:v>
                </c:pt>
                <c:pt idx="33">
                  <c:v>102.289321836</c:v>
                </c:pt>
                <c:pt idx="34">
                  <c:v>102.45672333500001</c:v>
                </c:pt>
                <c:pt idx="35">
                  <c:v>100.888554141</c:v>
                </c:pt>
                <c:pt idx="36">
                  <c:v>101.05495473400001</c:v>
                </c:pt>
                <c:pt idx="37">
                  <c:v>102.755493722</c:v>
                </c:pt>
                <c:pt idx="38">
                  <c:v>103.45087304</c:v>
                </c:pt>
                <c:pt idx="39">
                  <c:v>103.973345878</c:v>
                </c:pt>
                <c:pt idx="40">
                  <c:v>104.38697020799999</c:v>
                </c:pt>
                <c:pt idx="41">
                  <c:v>105.615832328</c:v>
                </c:pt>
                <c:pt idx="42">
                  <c:v>105.739444197</c:v>
                </c:pt>
                <c:pt idx="43">
                  <c:v>106.095015989</c:v>
                </c:pt>
                <c:pt idx="44">
                  <c:v>105.74319759399999</c:v>
                </c:pt>
                <c:pt idx="45">
                  <c:v>105.091107452</c:v>
                </c:pt>
                <c:pt idx="46">
                  <c:v>103.984355842</c:v>
                </c:pt>
                <c:pt idx="47">
                  <c:v>104.238085467</c:v>
                </c:pt>
                <c:pt idx="48">
                  <c:v>103.580490344</c:v>
                </c:pt>
                <c:pt idx="49">
                  <c:v>104.543361742</c:v>
                </c:pt>
                <c:pt idx="50">
                  <c:v>104.720271846</c:v>
                </c:pt>
                <c:pt idx="51">
                  <c:v>104.03390068</c:v>
                </c:pt>
                <c:pt idx="52">
                  <c:v>103.907286094</c:v>
                </c:pt>
                <c:pt idx="53">
                  <c:v>103.67332435900001</c:v>
                </c:pt>
                <c:pt idx="54">
                  <c:v>103.32876253000001</c:v>
                </c:pt>
                <c:pt idx="55">
                  <c:v>103.77866969599999</c:v>
                </c:pt>
                <c:pt idx="56">
                  <c:v>104.582146843</c:v>
                </c:pt>
                <c:pt idx="57">
                  <c:v>104.244591355</c:v>
                </c:pt>
                <c:pt idx="58">
                  <c:v>102.494007076</c:v>
                </c:pt>
                <c:pt idx="59">
                  <c:v>102.538547385</c:v>
                </c:pt>
                <c:pt idx="60">
                  <c:v>102.47173692200001</c:v>
                </c:pt>
                <c:pt idx="61">
                  <c:v>102.79077565199999</c:v>
                </c:pt>
                <c:pt idx="62">
                  <c:v>103.902782018</c:v>
                </c:pt>
                <c:pt idx="63">
                  <c:v>103.954328667</c:v>
                </c:pt>
                <c:pt idx="64">
                  <c:v>104.979506453</c:v>
                </c:pt>
                <c:pt idx="65">
                  <c:v>104.259354716</c:v>
                </c:pt>
                <c:pt idx="66">
                  <c:v>103.455627343</c:v>
                </c:pt>
                <c:pt idx="67">
                  <c:v>103.37255216</c:v>
                </c:pt>
                <c:pt idx="68">
                  <c:v>102.889364875</c:v>
                </c:pt>
                <c:pt idx="69">
                  <c:v>103.36479514</c:v>
                </c:pt>
                <c:pt idx="70">
                  <c:v>102.75774576000001</c:v>
                </c:pt>
                <c:pt idx="71">
                  <c:v>102.833063923</c:v>
                </c:pt>
                <c:pt idx="72">
                  <c:v>101.523128431</c:v>
                </c:pt>
                <c:pt idx="73">
                  <c:v>101.787117341</c:v>
                </c:pt>
                <c:pt idx="74">
                  <c:v>103.118322081</c:v>
                </c:pt>
                <c:pt idx="75">
                  <c:v>101.702290573</c:v>
                </c:pt>
                <c:pt idx="76">
                  <c:v>100.69387795999999</c:v>
                </c:pt>
                <c:pt idx="77">
                  <c:v>101.44280573899999</c:v>
                </c:pt>
                <c:pt idx="78">
                  <c:v>101.443806645</c:v>
                </c:pt>
                <c:pt idx="79">
                  <c:v>102.41268347899999</c:v>
                </c:pt>
                <c:pt idx="80">
                  <c:v>102.41218302599999</c:v>
                </c:pt>
                <c:pt idx="81">
                  <c:v>100.805729185</c:v>
                </c:pt>
                <c:pt idx="82">
                  <c:v>100.676111881</c:v>
                </c:pt>
                <c:pt idx="83">
                  <c:v>100.748427327</c:v>
                </c:pt>
                <c:pt idx="84">
                  <c:v>101.2683979</c:v>
                </c:pt>
                <c:pt idx="85">
                  <c:v>102.436705218</c:v>
                </c:pt>
                <c:pt idx="86">
                  <c:v>103.69284202199999</c:v>
                </c:pt>
                <c:pt idx="87">
                  <c:v>104.313904083</c:v>
                </c:pt>
                <c:pt idx="88">
                  <c:v>104.490814187</c:v>
                </c:pt>
                <c:pt idx="89">
                  <c:v>104.238335694</c:v>
                </c:pt>
                <c:pt idx="90">
                  <c:v>103.58074057</c:v>
                </c:pt>
                <c:pt idx="91">
                  <c:v>104.2781217</c:v>
                </c:pt>
                <c:pt idx="92">
                  <c:v>103.89627613</c:v>
                </c:pt>
                <c:pt idx="93">
                  <c:v>101.824401083</c:v>
                </c:pt>
                <c:pt idx="94">
                  <c:v>101.16205165700001</c:v>
                </c:pt>
                <c:pt idx="95">
                  <c:v>102.234522243</c:v>
                </c:pt>
                <c:pt idx="96">
                  <c:v>101.696535365</c:v>
                </c:pt>
                <c:pt idx="97">
                  <c:v>101.497355106</c:v>
                </c:pt>
                <c:pt idx="98">
                  <c:v>100.242469435</c:v>
                </c:pt>
                <c:pt idx="99">
                  <c:v>101.43554917199999</c:v>
                </c:pt>
                <c:pt idx="100">
                  <c:v>102.46698261900001</c:v>
                </c:pt>
                <c:pt idx="101">
                  <c:v>104.07093419500001</c:v>
                </c:pt>
                <c:pt idx="102">
                  <c:v>104.328166991</c:v>
                </c:pt>
                <c:pt idx="103">
                  <c:v>103.602009819</c:v>
                </c:pt>
                <c:pt idx="104">
                  <c:v>104.17753066500001</c:v>
                </c:pt>
                <c:pt idx="105">
                  <c:v>103.302738979</c:v>
                </c:pt>
                <c:pt idx="106">
                  <c:v>102.990206137</c:v>
                </c:pt>
                <c:pt idx="107">
                  <c:v>102.74123081400001</c:v>
                </c:pt>
                <c:pt idx="108">
                  <c:v>102.030587682</c:v>
                </c:pt>
                <c:pt idx="109">
                  <c:v>100.536485519</c:v>
                </c:pt>
                <c:pt idx="110">
                  <c:v>99.812079932299994</c:v>
                </c:pt>
                <c:pt idx="111">
                  <c:v>96.913706904700007</c:v>
                </c:pt>
                <c:pt idx="112">
                  <c:v>95.659071459700002</c:v>
                </c:pt>
                <c:pt idx="113">
                  <c:v>91.750784459900004</c:v>
                </c:pt>
                <c:pt idx="114">
                  <c:v>92.840520671199997</c:v>
                </c:pt>
                <c:pt idx="115">
                  <c:v>91.269849213499995</c:v>
                </c:pt>
                <c:pt idx="116">
                  <c:v>93.5414049715</c:v>
                </c:pt>
                <c:pt idx="117">
                  <c:v>94.789784755200003</c:v>
                </c:pt>
                <c:pt idx="118">
                  <c:v>96.967005139700007</c:v>
                </c:pt>
                <c:pt idx="119">
                  <c:v>96.549627412800007</c:v>
                </c:pt>
                <c:pt idx="120">
                  <c:v>97.491229562800001</c:v>
                </c:pt>
                <c:pt idx="121">
                  <c:v>94.774270715</c:v>
                </c:pt>
                <c:pt idx="122">
                  <c:v>93.8621952867</c:v>
                </c:pt>
                <c:pt idx="123">
                  <c:v>94.076889585100005</c:v>
                </c:pt>
                <c:pt idx="124">
                  <c:v>95.743397775000005</c:v>
                </c:pt>
                <c:pt idx="125">
                  <c:v>96.615186743999999</c:v>
                </c:pt>
                <c:pt idx="126">
                  <c:v>95.576997182499994</c:v>
                </c:pt>
                <c:pt idx="127">
                  <c:v>95.288986532799996</c:v>
                </c:pt>
                <c:pt idx="128">
                  <c:v>97.143164563900001</c:v>
                </c:pt>
                <c:pt idx="129">
                  <c:v>97.522758096100006</c:v>
                </c:pt>
                <c:pt idx="130">
                  <c:v>98.846706269199998</c:v>
                </c:pt>
                <c:pt idx="131">
                  <c:v>98.469114548700006</c:v>
                </c:pt>
                <c:pt idx="132">
                  <c:v>97.056335984100002</c:v>
                </c:pt>
                <c:pt idx="133">
                  <c:v>95.120333902200002</c:v>
                </c:pt>
                <c:pt idx="134">
                  <c:v>94.377661783899995</c:v>
                </c:pt>
                <c:pt idx="135">
                  <c:v>96.118237004500003</c:v>
                </c:pt>
                <c:pt idx="136">
                  <c:v>96.408249465799997</c:v>
                </c:pt>
                <c:pt idx="137">
                  <c:v>94.059373733200005</c:v>
                </c:pt>
                <c:pt idx="138">
                  <c:v>92.607059388699994</c:v>
                </c:pt>
                <c:pt idx="139">
                  <c:v>93.253394321900004</c:v>
                </c:pt>
                <c:pt idx="140">
                  <c:v>93.484853792699994</c:v>
                </c:pt>
                <c:pt idx="141">
                  <c:v>95.276224983600002</c:v>
                </c:pt>
                <c:pt idx="142">
                  <c:v>95.765167476599999</c:v>
                </c:pt>
                <c:pt idx="143">
                  <c:v>93.925752806299997</c:v>
                </c:pt>
                <c:pt idx="144">
                  <c:v>95.018241508599999</c:v>
                </c:pt>
                <c:pt idx="145">
                  <c:v>93.7243205101</c:v>
                </c:pt>
                <c:pt idx="146">
                  <c:v>90.458364820200003</c:v>
                </c:pt>
                <c:pt idx="147">
                  <c:v>90.665552324900005</c:v>
                </c:pt>
                <c:pt idx="148">
                  <c:v>91.357678699199994</c:v>
                </c:pt>
                <c:pt idx="149">
                  <c:v>93.992563269800002</c:v>
                </c:pt>
                <c:pt idx="150">
                  <c:v>92.964132539900007</c:v>
                </c:pt>
                <c:pt idx="151">
                  <c:v>93.539152933400004</c:v>
                </c:pt>
                <c:pt idx="152">
                  <c:v>92.336564590999998</c:v>
                </c:pt>
                <c:pt idx="153">
                  <c:v>90.374789184199997</c:v>
                </c:pt>
                <c:pt idx="154">
                  <c:v>89.444947677599998</c:v>
                </c:pt>
                <c:pt idx="155">
                  <c:v>90.718099880400004</c:v>
                </c:pt>
                <c:pt idx="156">
                  <c:v>92.685880722099995</c:v>
                </c:pt>
                <c:pt idx="157">
                  <c:v>93.768360366099998</c:v>
                </c:pt>
                <c:pt idx="158">
                  <c:v>95.446629199399993</c:v>
                </c:pt>
                <c:pt idx="159">
                  <c:v>95.066034761500006</c:v>
                </c:pt>
                <c:pt idx="160">
                  <c:v>96.198059243599999</c:v>
                </c:pt>
                <c:pt idx="161">
                  <c:v>95.644808551699995</c:v>
                </c:pt>
                <c:pt idx="162">
                  <c:v>96.632702595799998</c:v>
                </c:pt>
                <c:pt idx="163">
                  <c:v>96.194305846800006</c:v>
                </c:pt>
                <c:pt idx="164">
                  <c:v>95.429113347599994</c:v>
                </c:pt>
                <c:pt idx="165">
                  <c:v>96.4407789049</c:v>
                </c:pt>
                <c:pt idx="166">
                  <c:v>95.263713660899995</c:v>
                </c:pt>
                <c:pt idx="167">
                  <c:v>97.114888974500005</c:v>
                </c:pt>
                <c:pt idx="168">
                  <c:v>97.773735230400007</c:v>
                </c:pt>
                <c:pt idx="169">
                  <c:v>96.907451243400004</c:v>
                </c:pt>
                <c:pt idx="170">
                  <c:v>96.964753101599996</c:v>
                </c:pt>
                <c:pt idx="171">
                  <c:v>100.33029892099999</c:v>
                </c:pt>
                <c:pt idx="172">
                  <c:v>100.266741401</c:v>
                </c:pt>
                <c:pt idx="173">
                  <c:v>98.251667759300005</c:v>
                </c:pt>
                <c:pt idx="174">
                  <c:v>94.9309124758</c:v>
                </c:pt>
                <c:pt idx="175">
                  <c:v>95.871513719899994</c:v>
                </c:pt>
                <c:pt idx="176">
                  <c:v>96.8831792772</c:v>
                </c:pt>
                <c:pt idx="177">
                  <c:v>96.622693537700002</c:v>
                </c:pt>
                <c:pt idx="178">
                  <c:v>96.672989055100004</c:v>
                </c:pt>
                <c:pt idx="179">
                  <c:v>97.242254240099996</c:v>
                </c:pt>
                <c:pt idx="180">
                  <c:v>95.414600213200004</c:v>
                </c:pt>
                <c:pt idx="181">
                  <c:v>95.225429013300001</c:v>
                </c:pt>
                <c:pt idx="182">
                  <c:v>97.206471856999997</c:v>
                </c:pt>
                <c:pt idx="183">
                  <c:v>96.299150731400005</c:v>
                </c:pt>
                <c:pt idx="184">
                  <c:v>95.818465711499996</c:v>
                </c:pt>
                <c:pt idx="185">
                  <c:v>95.282230418500006</c:v>
                </c:pt>
                <c:pt idx="186">
                  <c:v>94.4875111976</c:v>
                </c:pt>
                <c:pt idx="187">
                  <c:v>94.068381885600004</c:v>
                </c:pt>
                <c:pt idx="188">
                  <c:v>92.216706118999994</c:v>
                </c:pt>
                <c:pt idx="189">
                  <c:v>91.961725361500001</c:v>
                </c:pt>
                <c:pt idx="190">
                  <c:v>90.144080392800007</c:v>
                </c:pt>
                <c:pt idx="191">
                  <c:v>89.927884735700005</c:v>
                </c:pt>
                <c:pt idx="192">
                  <c:v>89.996947237200004</c:v>
                </c:pt>
                <c:pt idx="193">
                  <c:v>92.203694343400002</c:v>
                </c:pt>
                <c:pt idx="194">
                  <c:v>93.075233085899995</c:v>
                </c:pt>
                <c:pt idx="195">
                  <c:v>95.970353169600003</c:v>
                </c:pt>
                <c:pt idx="196">
                  <c:v>96.008137364299998</c:v>
                </c:pt>
                <c:pt idx="197">
                  <c:v>95.970353169600003</c:v>
                </c:pt>
                <c:pt idx="198">
                  <c:v>96.7445538212</c:v>
                </c:pt>
                <c:pt idx="199">
                  <c:v>96.093214359000001</c:v>
                </c:pt>
                <c:pt idx="200">
                  <c:v>96.223081889100001</c:v>
                </c:pt>
                <c:pt idx="201">
                  <c:v>94.972199840900004</c:v>
                </c:pt>
                <c:pt idx="202">
                  <c:v>95.322767104199997</c:v>
                </c:pt>
                <c:pt idx="203">
                  <c:v>94.334873060099994</c:v>
                </c:pt>
                <c:pt idx="204">
                  <c:v>94.007827083500004</c:v>
                </c:pt>
                <c:pt idx="205">
                  <c:v>92.640089280799998</c:v>
                </c:pt>
                <c:pt idx="206">
                  <c:v>93.2816699113</c:v>
                </c:pt>
                <c:pt idx="207">
                  <c:v>93.536150215899994</c:v>
                </c:pt>
                <c:pt idx="208">
                  <c:v>92.830761839499999</c:v>
                </c:pt>
                <c:pt idx="209">
                  <c:v>94.310601094000006</c:v>
                </c:pt>
                <c:pt idx="210">
                  <c:v>94.712214554200003</c:v>
                </c:pt>
                <c:pt idx="211">
                  <c:v>95.031003057800007</c:v>
                </c:pt>
                <c:pt idx="212">
                  <c:v>95.736641660700002</c:v>
                </c:pt>
                <c:pt idx="213">
                  <c:v>95.917305161200005</c:v>
                </c:pt>
                <c:pt idx="214">
                  <c:v>95.023496264100004</c:v>
                </c:pt>
                <c:pt idx="215">
                  <c:v>95.482661808900005</c:v>
                </c:pt>
                <c:pt idx="216">
                  <c:v>95.932318748499995</c:v>
                </c:pt>
                <c:pt idx="217">
                  <c:v>96.1712850129</c:v>
                </c:pt>
                <c:pt idx="218">
                  <c:v>97.042573528999995</c:v>
                </c:pt>
                <c:pt idx="219">
                  <c:v>96.593917495300005</c:v>
                </c:pt>
                <c:pt idx="220">
                  <c:v>95.415601119000002</c:v>
                </c:pt>
                <c:pt idx="221">
                  <c:v>94.837327781599996</c:v>
                </c:pt>
                <c:pt idx="222">
                  <c:v>94.577592721399995</c:v>
                </c:pt>
                <c:pt idx="223">
                  <c:v>95.730135772899999</c:v>
                </c:pt>
                <c:pt idx="224">
                  <c:v>95.3735630746</c:v>
                </c:pt>
                <c:pt idx="225">
                  <c:v>95.618034321099998</c:v>
                </c:pt>
                <c:pt idx="226">
                  <c:v>95.282230418500006</c:v>
                </c:pt>
                <c:pt idx="227">
                  <c:v>95.284732683100003</c:v>
                </c:pt>
                <c:pt idx="228">
                  <c:v>96.250857025599998</c:v>
                </c:pt>
                <c:pt idx="229">
                  <c:v>96.119488136800001</c:v>
                </c:pt>
                <c:pt idx="230">
                  <c:v>96.427266676299993</c:v>
                </c:pt>
                <c:pt idx="231">
                  <c:v>96.632702595799998</c:v>
                </c:pt>
                <c:pt idx="232">
                  <c:v>97.067846400999997</c:v>
                </c:pt>
                <c:pt idx="233">
                  <c:v>96.409500597999994</c:v>
                </c:pt>
                <c:pt idx="234">
                  <c:v>96.888934485700005</c:v>
                </c:pt>
                <c:pt idx="235">
                  <c:v>97.824280974299995</c:v>
                </c:pt>
                <c:pt idx="236">
                  <c:v>97.306312212600005</c:v>
                </c:pt>
                <c:pt idx="237">
                  <c:v>96.933474794700004</c:v>
                </c:pt>
                <c:pt idx="238">
                  <c:v>97.249260580799998</c:v>
                </c:pt>
                <c:pt idx="239">
                  <c:v>98.223141943499996</c:v>
                </c:pt>
                <c:pt idx="240">
                  <c:v>98.216886282100006</c:v>
                </c:pt>
                <c:pt idx="241">
                  <c:v>98.7326030057</c:v>
                </c:pt>
                <c:pt idx="242">
                  <c:v>98.487881532800003</c:v>
                </c:pt>
                <c:pt idx="243">
                  <c:v>98.901005409899994</c:v>
                </c:pt>
                <c:pt idx="244">
                  <c:v>98.851710798300005</c:v>
                </c:pt>
                <c:pt idx="245">
                  <c:v>99.3321455918</c:v>
                </c:pt>
                <c:pt idx="246">
                  <c:v>98.233651454599993</c:v>
                </c:pt>
                <c:pt idx="247">
                  <c:v>98.787652825799995</c:v>
                </c:pt>
                <c:pt idx="248">
                  <c:v>98.277190857700006</c:v>
                </c:pt>
                <c:pt idx="249">
                  <c:v>98.505147158200003</c:v>
                </c:pt>
                <c:pt idx="250">
                  <c:v>98.330989545500003</c:v>
                </c:pt>
                <c:pt idx="251">
                  <c:v>99.322636986500001</c:v>
                </c:pt>
                <c:pt idx="252">
                  <c:v>100.014012681</c:v>
                </c:pt>
                <c:pt idx="253">
                  <c:v>99.717744558800007</c:v>
                </c:pt>
                <c:pt idx="254">
                  <c:v>99.243315200300003</c:v>
                </c:pt>
                <c:pt idx="255">
                  <c:v>99.378187259499995</c:v>
                </c:pt>
                <c:pt idx="256">
                  <c:v>100.089581071</c:v>
                </c:pt>
                <c:pt idx="257">
                  <c:v>99.927684554500004</c:v>
                </c:pt>
                <c:pt idx="258">
                  <c:v>100.248224643</c:v>
                </c:pt>
                <c:pt idx="259">
                  <c:v>100.55675386199999</c:v>
                </c:pt>
                <c:pt idx="260">
                  <c:v>100.72140287000001</c:v>
                </c:pt>
                <c:pt idx="261">
                  <c:v>100.40161345999999</c:v>
                </c:pt>
                <c:pt idx="262">
                  <c:v>100.298520161</c:v>
                </c:pt>
                <c:pt idx="263">
                  <c:v>98.618749968700001</c:v>
                </c:pt>
                <c:pt idx="264">
                  <c:v>98.604737287199995</c:v>
                </c:pt>
                <c:pt idx="265">
                  <c:v>99.870883149299999</c:v>
                </c:pt>
                <c:pt idx="266">
                  <c:v>99.851865938700001</c:v>
                </c:pt>
                <c:pt idx="267">
                  <c:v>99.900409870900006</c:v>
                </c:pt>
                <c:pt idx="268">
                  <c:v>101.043194091</c:v>
                </c:pt>
                <c:pt idx="269">
                  <c:v>100.78070653899999</c:v>
                </c:pt>
                <c:pt idx="270">
                  <c:v>101.071719907</c:v>
                </c:pt>
                <c:pt idx="271">
                  <c:v>101.35397534800001</c:v>
                </c:pt>
                <c:pt idx="272">
                  <c:v>101.561413079</c:v>
                </c:pt>
                <c:pt idx="273">
                  <c:v>101.098744364</c:v>
                </c:pt>
                <c:pt idx="274">
                  <c:v>100.90181614399999</c:v>
                </c:pt>
                <c:pt idx="275">
                  <c:v>100.320289862</c:v>
                </c:pt>
                <c:pt idx="276">
                  <c:v>100.742171665</c:v>
                </c:pt>
                <c:pt idx="277">
                  <c:v>101.545398586</c:v>
                </c:pt>
                <c:pt idx="278">
                  <c:v>101.721307784</c:v>
                </c:pt>
                <c:pt idx="279">
                  <c:v>100.982889515</c:v>
                </c:pt>
                <c:pt idx="280">
                  <c:v>100.409620707</c:v>
                </c:pt>
                <c:pt idx="281">
                  <c:v>100.90982339</c:v>
                </c:pt>
                <c:pt idx="282">
                  <c:v>101.403770412</c:v>
                </c:pt>
                <c:pt idx="283">
                  <c:v>101.05520496</c:v>
                </c:pt>
                <c:pt idx="284">
                  <c:v>99.248569955799994</c:v>
                </c:pt>
                <c:pt idx="285">
                  <c:v>98.897752466</c:v>
                </c:pt>
                <c:pt idx="286">
                  <c:v>97.498736356400002</c:v>
                </c:pt>
                <c:pt idx="287">
                  <c:v>97.9511457869</c:v>
                </c:pt>
                <c:pt idx="288">
                  <c:v>98.765883124200002</c:v>
                </c:pt>
                <c:pt idx="289">
                  <c:v>97.900850269499998</c:v>
                </c:pt>
                <c:pt idx="290">
                  <c:v>97.866819471599996</c:v>
                </c:pt>
                <c:pt idx="291">
                  <c:v>99.130713295500001</c:v>
                </c:pt>
                <c:pt idx="292">
                  <c:v>98.806169583499994</c:v>
                </c:pt>
                <c:pt idx="293">
                  <c:v>98.561948563399994</c:v>
                </c:pt>
                <c:pt idx="294">
                  <c:v>99.422227115499993</c:v>
                </c:pt>
                <c:pt idx="295">
                  <c:v>98.196367712799997</c:v>
                </c:pt>
                <c:pt idx="296">
                  <c:v>99.445998628799998</c:v>
                </c:pt>
                <c:pt idx="297">
                  <c:v>99.879390848699998</c:v>
                </c:pt>
                <c:pt idx="298">
                  <c:v>100.212942713</c:v>
                </c:pt>
                <c:pt idx="299">
                  <c:v>100.924836977</c:v>
                </c:pt>
                <c:pt idx="300">
                  <c:v>100.861529684</c:v>
                </c:pt>
                <c:pt idx="301">
                  <c:v>101.090486891</c:v>
                </c:pt>
                <c:pt idx="302">
                  <c:v>100.756184347</c:v>
                </c:pt>
                <c:pt idx="303">
                  <c:v>100.487190908</c:v>
                </c:pt>
                <c:pt idx="304">
                  <c:v>99.669200626600002</c:v>
                </c:pt>
                <c:pt idx="305">
                  <c:v>99.234807500800002</c:v>
                </c:pt>
                <c:pt idx="306">
                  <c:v>98.931282810900001</c:v>
                </c:pt>
                <c:pt idx="307">
                  <c:v>98.225143755100007</c:v>
                </c:pt>
                <c:pt idx="308">
                  <c:v>98.857215780299995</c:v>
                </c:pt>
                <c:pt idx="309">
                  <c:v>98.636015594100002</c:v>
                </c:pt>
                <c:pt idx="310">
                  <c:v>97.430674760700001</c:v>
                </c:pt>
                <c:pt idx="311">
                  <c:v>96.703516682599997</c:v>
                </c:pt>
                <c:pt idx="312">
                  <c:v>95.796195557000004</c:v>
                </c:pt>
                <c:pt idx="313">
                  <c:v>95.232685580500004</c:v>
                </c:pt>
                <c:pt idx="314">
                  <c:v>94.499271840999995</c:v>
                </c:pt>
                <c:pt idx="315">
                  <c:v>94.703456628200001</c:v>
                </c:pt>
                <c:pt idx="316">
                  <c:v>95.644558325299997</c:v>
                </c:pt>
                <c:pt idx="317">
                  <c:v>93.948773640100001</c:v>
                </c:pt>
                <c:pt idx="318">
                  <c:v>94.404686240999993</c:v>
                </c:pt>
                <c:pt idx="319">
                  <c:v>94.288080712999999</c:v>
                </c:pt>
                <c:pt idx="320">
                  <c:v>94.552820302399994</c:v>
                </c:pt>
                <c:pt idx="321">
                  <c:v>94.826818270499999</c:v>
                </c:pt>
                <c:pt idx="322">
                  <c:v>93.463334317600001</c:v>
                </c:pt>
                <c:pt idx="323">
                  <c:v>93.521386855100005</c:v>
                </c:pt>
                <c:pt idx="324">
                  <c:v>92.464680535900001</c:v>
                </c:pt>
                <c:pt idx="325">
                  <c:v>92.437155625800003</c:v>
                </c:pt>
                <c:pt idx="326">
                  <c:v>92.761949564399998</c:v>
                </c:pt>
                <c:pt idx="327">
                  <c:v>94.541059658999998</c:v>
                </c:pt>
                <c:pt idx="328">
                  <c:v>95.283982003700004</c:v>
                </c:pt>
                <c:pt idx="329">
                  <c:v>94.774520941500001</c:v>
                </c:pt>
                <c:pt idx="330">
                  <c:v>94.978205275799994</c:v>
                </c:pt>
                <c:pt idx="331">
                  <c:v>95.227180598399997</c:v>
                </c:pt>
                <c:pt idx="332">
                  <c:v>95.506433322199996</c:v>
                </c:pt>
                <c:pt idx="333">
                  <c:v>95.939325089199997</c:v>
                </c:pt>
                <c:pt idx="334">
                  <c:v>96.817619946099995</c:v>
                </c:pt>
                <c:pt idx="335">
                  <c:v>96.958497440200006</c:v>
                </c:pt>
                <c:pt idx="336">
                  <c:v>98.0387250462</c:v>
                </c:pt>
                <c:pt idx="337">
                  <c:v>98.502144440699993</c:v>
                </c:pt>
                <c:pt idx="338">
                  <c:v>97.438431780800002</c:v>
                </c:pt>
                <c:pt idx="339">
                  <c:v>97.145666828499998</c:v>
                </c:pt>
                <c:pt idx="340">
                  <c:v>96.208318528299998</c:v>
                </c:pt>
                <c:pt idx="341">
                  <c:v>96.453540454099993</c:v>
                </c:pt>
                <c:pt idx="342">
                  <c:v>97.380879696099996</c:v>
                </c:pt>
                <c:pt idx="343">
                  <c:v>97.411907776500001</c:v>
                </c:pt>
                <c:pt idx="344">
                  <c:v>99.788058192700007</c:v>
                </c:pt>
                <c:pt idx="345">
                  <c:v>100.279252724</c:v>
                </c:pt>
                <c:pt idx="346">
                  <c:v>100.853772664</c:v>
                </c:pt>
                <c:pt idx="347">
                  <c:v>100.59453805699999</c:v>
                </c:pt>
                <c:pt idx="348">
                  <c:v>99.888148774599998</c:v>
                </c:pt>
                <c:pt idx="349">
                  <c:v>99.338151026700004</c:v>
                </c:pt>
                <c:pt idx="350">
                  <c:v>98.975322667</c:v>
                </c:pt>
                <c:pt idx="351">
                  <c:v>99.038379733699998</c:v>
                </c:pt>
                <c:pt idx="352">
                  <c:v>99.547590569500002</c:v>
                </c:pt>
                <c:pt idx="353">
                  <c:v>98.447845299999997</c:v>
                </c:pt>
                <c:pt idx="354">
                  <c:v>100.02302083399999</c:v>
                </c:pt>
                <c:pt idx="355">
                  <c:v>100.397109384</c:v>
                </c:pt>
                <c:pt idx="356">
                  <c:v>100.620561608</c:v>
                </c:pt>
                <c:pt idx="357">
                  <c:v>101.35497625399999</c:v>
                </c:pt>
                <c:pt idx="358">
                  <c:v>102.173967441</c:v>
                </c:pt>
                <c:pt idx="359">
                  <c:v>100.91007361699999</c:v>
                </c:pt>
                <c:pt idx="360">
                  <c:v>99.200776702900001</c:v>
                </c:pt>
                <c:pt idx="361">
                  <c:v>98.667293900999994</c:v>
                </c:pt>
                <c:pt idx="362">
                  <c:v>98.693317452299993</c:v>
                </c:pt>
                <c:pt idx="363">
                  <c:v>100.77920518099999</c:v>
                </c:pt>
                <c:pt idx="364">
                  <c:v>101.964027445</c:v>
                </c:pt>
                <c:pt idx="365">
                  <c:v>102.366892037</c:v>
                </c:pt>
                <c:pt idx="366">
                  <c:v>102.32885761599999</c:v>
                </c:pt>
                <c:pt idx="367">
                  <c:v>102.377651775</c:v>
                </c:pt>
                <c:pt idx="368">
                  <c:v>101.12426746200001</c:v>
                </c:pt>
                <c:pt idx="369">
                  <c:v>102.744984211</c:v>
                </c:pt>
                <c:pt idx="370">
                  <c:v>103.31374894299999</c:v>
                </c:pt>
                <c:pt idx="371">
                  <c:v>103.56948038</c:v>
                </c:pt>
                <c:pt idx="372">
                  <c:v>103.354285628</c:v>
                </c:pt>
                <c:pt idx="373">
                  <c:v>103.30599192299999</c:v>
                </c:pt>
                <c:pt idx="374">
                  <c:v>103.33852136199999</c:v>
                </c:pt>
                <c:pt idx="375">
                  <c:v>103.328512304</c:v>
                </c:pt>
                <c:pt idx="376">
                  <c:v>103.63704152299999</c:v>
                </c:pt>
                <c:pt idx="377">
                  <c:v>103.339272041</c:v>
                </c:pt>
                <c:pt idx="378">
                  <c:v>103.833719516</c:v>
                </c:pt>
                <c:pt idx="379">
                  <c:v>103.858742162</c:v>
                </c:pt>
                <c:pt idx="380">
                  <c:v>103.94006576</c:v>
                </c:pt>
                <c:pt idx="381">
                  <c:v>104.266361057</c:v>
                </c:pt>
                <c:pt idx="382">
                  <c:v>103.589748723</c:v>
                </c:pt>
                <c:pt idx="383">
                  <c:v>103.88001140999999</c:v>
                </c:pt>
                <c:pt idx="384">
                  <c:v>103.88126254300001</c:v>
                </c:pt>
                <c:pt idx="385">
                  <c:v>104.073686686</c:v>
                </c:pt>
                <c:pt idx="386">
                  <c:v>104.046412003</c:v>
                </c:pt>
                <c:pt idx="387">
                  <c:v>103.86975212599999</c:v>
                </c:pt>
                <c:pt idx="388">
                  <c:v>103.26520501100001</c:v>
                </c:pt>
                <c:pt idx="389">
                  <c:v>103.88901956300001</c:v>
                </c:pt>
                <c:pt idx="390">
                  <c:v>104.057672193</c:v>
                </c:pt>
                <c:pt idx="391">
                  <c:v>103.680580926</c:v>
                </c:pt>
                <c:pt idx="392">
                  <c:v>103.641795825</c:v>
                </c:pt>
                <c:pt idx="393">
                  <c:v>104.995020494</c:v>
                </c:pt>
                <c:pt idx="394">
                  <c:v>105.959893704</c:v>
                </c:pt>
                <c:pt idx="395">
                  <c:v>105.807756019</c:v>
                </c:pt>
                <c:pt idx="396">
                  <c:v>106.347244256</c:v>
                </c:pt>
                <c:pt idx="397">
                  <c:v>106.964052467</c:v>
                </c:pt>
                <c:pt idx="398">
                  <c:v>107.144215515</c:v>
                </c:pt>
                <c:pt idx="399">
                  <c:v>108.62480544899999</c:v>
                </c:pt>
                <c:pt idx="400">
                  <c:v>108.097828535</c:v>
                </c:pt>
                <c:pt idx="401">
                  <c:v>107.34664871699999</c:v>
                </c:pt>
                <c:pt idx="402">
                  <c:v>107.77954048399999</c:v>
                </c:pt>
                <c:pt idx="403">
                  <c:v>107.596374719</c:v>
                </c:pt>
                <c:pt idx="404">
                  <c:v>107.987228442</c:v>
                </c:pt>
                <c:pt idx="405">
                  <c:v>107.70972730299999</c:v>
                </c:pt>
                <c:pt idx="406">
                  <c:v>108.009498596</c:v>
                </c:pt>
                <c:pt idx="407">
                  <c:v>106.586460747</c:v>
                </c:pt>
                <c:pt idx="408">
                  <c:v>107.004589153</c:v>
                </c:pt>
                <c:pt idx="409">
                  <c:v>106.569945801</c:v>
                </c:pt>
                <c:pt idx="410">
                  <c:v>106.793648252</c:v>
                </c:pt>
                <c:pt idx="411">
                  <c:v>107.23279568</c:v>
                </c:pt>
                <c:pt idx="412">
                  <c:v>107.27483372499999</c:v>
                </c:pt>
                <c:pt idx="413">
                  <c:v>107.858612044</c:v>
                </c:pt>
                <c:pt idx="414">
                  <c:v>108.509200827</c:v>
                </c:pt>
                <c:pt idx="415">
                  <c:v>107.764777123</c:v>
                </c:pt>
                <c:pt idx="416">
                  <c:v>107.11093539700001</c:v>
                </c:pt>
                <c:pt idx="417">
                  <c:v>106.894239287</c:v>
                </c:pt>
                <c:pt idx="418">
                  <c:v>107.02285568400001</c:v>
                </c:pt>
                <c:pt idx="419">
                  <c:v>106.855954639</c:v>
                </c:pt>
                <c:pt idx="420">
                  <c:v>107.046126745</c:v>
                </c:pt>
                <c:pt idx="421">
                  <c:v>108.117095972</c:v>
                </c:pt>
                <c:pt idx="422">
                  <c:v>109.132765152</c:v>
                </c:pt>
                <c:pt idx="423">
                  <c:v>109.161040742</c:v>
                </c:pt>
                <c:pt idx="424">
                  <c:v>108.22394266800001</c:v>
                </c:pt>
                <c:pt idx="425">
                  <c:v>107.935932018</c:v>
                </c:pt>
                <c:pt idx="426">
                  <c:v>106.765372662</c:v>
                </c:pt>
                <c:pt idx="427">
                  <c:v>106.76061836</c:v>
                </c:pt>
                <c:pt idx="428">
                  <c:v>107.115939926</c:v>
                </c:pt>
                <c:pt idx="429">
                  <c:v>107.079156637</c:v>
                </c:pt>
                <c:pt idx="430">
                  <c:v>106.45809457599999</c:v>
                </c:pt>
                <c:pt idx="431">
                  <c:v>106.795650063</c:v>
                </c:pt>
                <c:pt idx="432">
                  <c:v>106.87422117</c:v>
                </c:pt>
                <c:pt idx="433">
                  <c:v>107.111185623</c:v>
                </c:pt>
                <c:pt idx="434">
                  <c:v>106.284437416</c:v>
                </c:pt>
                <c:pt idx="435">
                  <c:v>105.706164078</c:v>
                </c:pt>
                <c:pt idx="436">
                  <c:v>106.117286144</c:v>
                </c:pt>
                <c:pt idx="437">
                  <c:v>105.022545404</c:v>
                </c:pt>
                <c:pt idx="438">
                  <c:v>104.33417242599999</c:v>
                </c:pt>
                <c:pt idx="439">
                  <c:v>103.832968837</c:v>
                </c:pt>
                <c:pt idx="440">
                  <c:v>103.71411127099999</c:v>
                </c:pt>
                <c:pt idx="441">
                  <c:v>103.216661078</c:v>
                </c:pt>
                <c:pt idx="442">
                  <c:v>102.62312392699999</c:v>
                </c:pt>
                <c:pt idx="443">
                  <c:v>101.972785371</c:v>
                </c:pt>
                <c:pt idx="444">
                  <c:v>101.410026074</c:v>
                </c:pt>
                <c:pt idx="445">
                  <c:v>102.879105591</c:v>
                </c:pt>
                <c:pt idx="446">
                  <c:v>102.852581586</c:v>
                </c:pt>
                <c:pt idx="447">
                  <c:v>103.179377336</c:v>
                </c:pt>
                <c:pt idx="448">
                  <c:v>103.874256202</c:v>
                </c:pt>
                <c:pt idx="449">
                  <c:v>104.73828815100001</c:v>
                </c:pt>
                <c:pt idx="450">
                  <c:v>104.81635880499999</c:v>
                </c:pt>
                <c:pt idx="451">
                  <c:v>104.589153184</c:v>
                </c:pt>
                <c:pt idx="452">
                  <c:v>104.94622633500001</c:v>
                </c:pt>
                <c:pt idx="453">
                  <c:v>106.052727719</c:v>
                </c:pt>
                <c:pt idx="454">
                  <c:v>106.30195326800001</c:v>
                </c:pt>
                <c:pt idx="455">
                  <c:v>106.485119033</c:v>
                </c:pt>
                <c:pt idx="456">
                  <c:v>106.376770978</c:v>
                </c:pt>
                <c:pt idx="457">
                  <c:v>106.857205771</c:v>
                </c:pt>
                <c:pt idx="458">
                  <c:v>106.817419765</c:v>
                </c:pt>
                <c:pt idx="459">
                  <c:v>106.932023481</c:v>
                </c:pt>
                <c:pt idx="460">
                  <c:v>107.23805043599999</c:v>
                </c:pt>
                <c:pt idx="461">
                  <c:v>107.671692882</c:v>
                </c:pt>
                <c:pt idx="462">
                  <c:v>107.991982744</c:v>
                </c:pt>
                <c:pt idx="463">
                  <c:v>107.936932924</c:v>
                </c:pt>
                <c:pt idx="464">
                  <c:v>107.91566367599999</c:v>
                </c:pt>
                <c:pt idx="465">
                  <c:v>108.155380619</c:v>
                </c:pt>
                <c:pt idx="466">
                  <c:v>108.674350287</c:v>
                </c:pt>
                <c:pt idx="467">
                  <c:v>108.82398570700001</c:v>
                </c:pt>
                <c:pt idx="468">
                  <c:v>109.110745224</c:v>
                </c:pt>
                <c:pt idx="469">
                  <c:v>108.603786427</c:v>
                </c:pt>
                <c:pt idx="470">
                  <c:v>108.490684069</c:v>
                </c:pt>
                <c:pt idx="471">
                  <c:v>108.174147604</c:v>
                </c:pt>
                <c:pt idx="472">
                  <c:v>107.787047278</c:v>
                </c:pt>
                <c:pt idx="473">
                  <c:v>108.13961635299999</c:v>
                </c:pt>
                <c:pt idx="474">
                  <c:v>109.915473504</c:v>
                </c:pt>
                <c:pt idx="475">
                  <c:v>109.749072911</c:v>
                </c:pt>
                <c:pt idx="476">
                  <c:v>109.87618795</c:v>
                </c:pt>
                <c:pt idx="477">
                  <c:v>109.802621372</c:v>
                </c:pt>
                <c:pt idx="478">
                  <c:v>109.321185673</c:v>
                </c:pt>
                <c:pt idx="479">
                  <c:v>109.917225089</c:v>
                </c:pt>
                <c:pt idx="480">
                  <c:v>110.631371391</c:v>
                </c:pt>
                <c:pt idx="481">
                  <c:v>110.778504547</c:v>
                </c:pt>
                <c:pt idx="482">
                  <c:v>110.36538066999999</c:v>
                </c:pt>
                <c:pt idx="483">
                  <c:v>110.369134066</c:v>
                </c:pt>
                <c:pt idx="484">
                  <c:v>110.14443070999999</c:v>
                </c:pt>
                <c:pt idx="485">
                  <c:v>110.69367777799999</c:v>
                </c:pt>
                <c:pt idx="486">
                  <c:v>110.61660802999999</c:v>
                </c:pt>
                <c:pt idx="487">
                  <c:v>110.97468208700001</c:v>
                </c:pt>
                <c:pt idx="488">
                  <c:v>111.15359400299999</c:v>
                </c:pt>
                <c:pt idx="489">
                  <c:v>110.659396754</c:v>
                </c:pt>
                <c:pt idx="490">
                  <c:v>111.0457464</c:v>
                </c:pt>
                <c:pt idx="491">
                  <c:v>111.288966515</c:v>
                </c:pt>
                <c:pt idx="492">
                  <c:v>111.19137819700001</c:v>
                </c:pt>
                <c:pt idx="493">
                  <c:v>112.01912731</c:v>
                </c:pt>
                <c:pt idx="494">
                  <c:v>112.382205896</c:v>
                </c:pt>
                <c:pt idx="495">
                  <c:v>112.33040902</c:v>
                </c:pt>
                <c:pt idx="496">
                  <c:v>112.73627633</c:v>
                </c:pt>
                <c:pt idx="497">
                  <c:v>111.606754112</c:v>
                </c:pt>
                <c:pt idx="498">
                  <c:v>111.616763171</c:v>
                </c:pt>
                <c:pt idx="499">
                  <c:v>112.04014633200001</c:v>
                </c:pt>
                <c:pt idx="500">
                  <c:v>111.834960639</c:v>
                </c:pt>
                <c:pt idx="501">
                  <c:v>112.265350142</c:v>
                </c:pt>
                <c:pt idx="502">
                  <c:v>111.983344927</c:v>
                </c:pt>
                <c:pt idx="503">
                  <c:v>112.563870303</c:v>
                </c:pt>
                <c:pt idx="504">
                  <c:v>112.728018857</c:v>
                </c:pt>
                <c:pt idx="505">
                  <c:v>112.45352043600001</c:v>
                </c:pt>
                <c:pt idx="506">
                  <c:v>112.120218798</c:v>
                </c:pt>
                <c:pt idx="507">
                  <c:v>112.412233071</c:v>
                </c:pt>
                <c:pt idx="508">
                  <c:v>113.49045886499999</c:v>
                </c:pt>
                <c:pt idx="509">
                  <c:v>112.88115744700001</c:v>
                </c:pt>
                <c:pt idx="510">
                  <c:v>111.535189346</c:v>
                </c:pt>
                <c:pt idx="511">
                  <c:v>112.302133431</c:v>
                </c:pt>
                <c:pt idx="512">
                  <c:v>111.996857156</c:v>
                </c:pt>
                <c:pt idx="513">
                  <c:v>110.867334938</c:v>
                </c:pt>
                <c:pt idx="514">
                  <c:v>111.876498231</c:v>
                </c:pt>
                <c:pt idx="515">
                  <c:v>112.45352043600001</c:v>
                </c:pt>
                <c:pt idx="516">
                  <c:v>111.92454171</c:v>
                </c:pt>
                <c:pt idx="517">
                  <c:v>111.912280614</c:v>
                </c:pt>
                <c:pt idx="518">
                  <c:v>112.966985122</c:v>
                </c:pt>
                <c:pt idx="519">
                  <c:v>113.024036753</c:v>
                </c:pt>
                <c:pt idx="520">
                  <c:v>113.205951386</c:v>
                </c:pt>
                <c:pt idx="521">
                  <c:v>113.27076003800001</c:v>
                </c:pt>
                <c:pt idx="522">
                  <c:v>113.532747136</c:v>
                </c:pt>
                <c:pt idx="523">
                  <c:v>113.825011636</c:v>
                </c:pt>
                <c:pt idx="524">
                  <c:v>113.338070954</c:v>
                </c:pt>
                <c:pt idx="525">
                  <c:v>114.069232656</c:v>
                </c:pt>
                <c:pt idx="526">
                  <c:v>114.469094531</c:v>
                </c:pt>
                <c:pt idx="527">
                  <c:v>113.413639344</c:v>
                </c:pt>
                <c:pt idx="528">
                  <c:v>113.110615107</c:v>
                </c:pt>
                <c:pt idx="529">
                  <c:v>113.62808341500001</c:v>
                </c:pt>
                <c:pt idx="530">
                  <c:v>113.75594913400001</c:v>
                </c:pt>
                <c:pt idx="531">
                  <c:v>114.014683288</c:v>
                </c:pt>
                <c:pt idx="532">
                  <c:v>113.35533658</c:v>
                </c:pt>
                <c:pt idx="533">
                  <c:v>113.745189396</c:v>
                </c:pt>
                <c:pt idx="534">
                  <c:v>113.388366472</c:v>
                </c:pt>
                <c:pt idx="535">
                  <c:v>113.919597235</c:v>
                </c:pt>
                <c:pt idx="536">
                  <c:v>114.555672884</c:v>
                </c:pt>
                <c:pt idx="537">
                  <c:v>113.88056190899999</c:v>
                </c:pt>
                <c:pt idx="538">
                  <c:v>113.693142294</c:v>
                </c:pt>
                <c:pt idx="539">
                  <c:v>113.81174963300001</c:v>
                </c:pt>
                <c:pt idx="540">
                  <c:v>113.822259145</c:v>
                </c:pt>
                <c:pt idx="541">
                  <c:v>114.623234027</c:v>
                </c:pt>
                <c:pt idx="542">
                  <c:v>116.04577142300001</c:v>
                </c:pt>
                <c:pt idx="543">
                  <c:v>116.883779821</c:v>
                </c:pt>
                <c:pt idx="544">
                  <c:v>116.599272341</c:v>
                </c:pt>
                <c:pt idx="545">
                  <c:v>115.303599758</c:v>
                </c:pt>
                <c:pt idx="546">
                  <c:v>115.30835406</c:v>
                </c:pt>
                <c:pt idx="547">
                  <c:v>114.383517083</c:v>
                </c:pt>
                <c:pt idx="548">
                  <c:v>114.508880537</c:v>
                </c:pt>
                <c:pt idx="549">
                  <c:v>114.80514866</c:v>
                </c:pt>
                <c:pt idx="550">
                  <c:v>114.95803702400001</c:v>
                </c:pt>
                <c:pt idx="551">
                  <c:v>115.985466847</c:v>
                </c:pt>
                <c:pt idx="552">
                  <c:v>116.436374919</c:v>
                </c:pt>
                <c:pt idx="553">
                  <c:v>117.203068777</c:v>
                </c:pt>
                <c:pt idx="554">
                  <c:v>117.34144400700001</c:v>
                </c:pt>
                <c:pt idx="555">
                  <c:v>118.16694108199999</c:v>
                </c:pt>
                <c:pt idx="556">
                  <c:v>118.59733058400001</c:v>
                </c:pt>
                <c:pt idx="557">
                  <c:v>118.299561103</c:v>
                </c:pt>
                <c:pt idx="558">
                  <c:v>118.04633192999999</c:v>
                </c:pt>
                <c:pt idx="559">
                  <c:v>118.683408485</c:v>
                </c:pt>
                <c:pt idx="560">
                  <c:v>118.180203084</c:v>
                </c:pt>
                <c:pt idx="561">
                  <c:v>118.272286419</c:v>
                </c:pt>
                <c:pt idx="562">
                  <c:v>119.13832017999999</c:v>
                </c:pt>
                <c:pt idx="563">
                  <c:v>118.51450562799999</c:v>
                </c:pt>
                <c:pt idx="564">
                  <c:v>117.84239737</c:v>
                </c:pt>
                <c:pt idx="565">
                  <c:v>117.713780972</c:v>
                </c:pt>
                <c:pt idx="566">
                  <c:v>117.901701039</c:v>
                </c:pt>
                <c:pt idx="567">
                  <c:v>117.756069243</c:v>
                </c:pt>
                <c:pt idx="568">
                  <c:v>117.69676557299999</c:v>
                </c:pt>
                <c:pt idx="569">
                  <c:v>117.54412743499999</c:v>
                </c:pt>
                <c:pt idx="570">
                  <c:v>118.07235548200001</c:v>
                </c:pt>
                <c:pt idx="571">
                  <c:v>118.079862275</c:v>
                </c:pt>
                <c:pt idx="572">
                  <c:v>117.454045912</c:v>
                </c:pt>
                <c:pt idx="573">
                  <c:v>116.00998903999999</c:v>
                </c:pt>
                <c:pt idx="574">
                  <c:v>115.910398911</c:v>
                </c:pt>
                <c:pt idx="575">
                  <c:v>115.985466847</c:v>
                </c:pt>
                <c:pt idx="576">
                  <c:v>115.921408875</c:v>
                </c:pt>
                <c:pt idx="577">
                  <c:v>114.806650018</c:v>
                </c:pt>
                <c:pt idx="578">
                  <c:v>115.012336164</c:v>
                </c:pt>
                <c:pt idx="579">
                  <c:v>113.571031784</c:v>
                </c:pt>
                <c:pt idx="580">
                  <c:v>113.593301938</c:v>
                </c:pt>
                <c:pt idx="581">
                  <c:v>113.911840215</c:v>
                </c:pt>
                <c:pt idx="582">
                  <c:v>112.25559131</c:v>
                </c:pt>
                <c:pt idx="583">
                  <c:v>112.098949549</c:v>
                </c:pt>
                <c:pt idx="584">
                  <c:v>112.754793088</c:v>
                </c:pt>
                <c:pt idx="585">
                  <c:v>112.766053278</c:v>
                </c:pt>
                <c:pt idx="586">
                  <c:v>112.18427677</c:v>
                </c:pt>
                <c:pt idx="587">
                  <c:v>111.805684144</c:v>
                </c:pt>
                <c:pt idx="588">
                  <c:v>112.363188686</c:v>
                </c:pt>
                <c:pt idx="589">
                  <c:v>112.896421261</c:v>
                </c:pt>
                <c:pt idx="590">
                  <c:v>113.706404296</c:v>
                </c:pt>
                <c:pt idx="591">
                  <c:v>114.08024262000001</c:v>
                </c:pt>
                <c:pt idx="592">
                  <c:v>113.479448901</c:v>
                </c:pt>
                <c:pt idx="593">
                  <c:v>109.44454731499999</c:v>
                </c:pt>
                <c:pt idx="594">
                  <c:v>109.01065464200001</c:v>
                </c:pt>
                <c:pt idx="595">
                  <c:v>107.610137174</c:v>
                </c:pt>
                <c:pt idx="596">
                  <c:v>108.48217637</c:v>
                </c:pt>
                <c:pt idx="597">
                  <c:v>109.741065664</c:v>
                </c:pt>
                <c:pt idx="598">
                  <c:v>110.555552775</c:v>
                </c:pt>
                <c:pt idx="599">
                  <c:v>110.401413279</c:v>
                </c:pt>
                <c:pt idx="600">
                  <c:v>110.549297114</c:v>
                </c:pt>
                <c:pt idx="601">
                  <c:v>110.54854643500001</c:v>
                </c:pt>
                <c:pt idx="602">
                  <c:v>109.574665072</c:v>
                </c:pt>
                <c:pt idx="603">
                  <c:v>110.29756930000001</c:v>
                </c:pt>
                <c:pt idx="604">
                  <c:v>109.568909863</c:v>
                </c:pt>
                <c:pt idx="605">
                  <c:v>110.2114914</c:v>
                </c:pt>
                <c:pt idx="606">
                  <c:v>110.764992318</c:v>
                </c:pt>
                <c:pt idx="607">
                  <c:v>111.39781502300001</c:v>
                </c:pt>
                <c:pt idx="608">
                  <c:v>113.338321181</c:v>
                </c:pt>
                <c:pt idx="609">
                  <c:v>113.08759427299999</c:v>
                </c:pt>
                <c:pt idx="610">
                  <c:v>113.372852431</c:v>
                </c:pt>
                <c:pt idx="611">
                  <c:v>113.679630065</c:v>
                </c:pt>
                <c:pt idx="612">
                  <c:v>113.72016675099999</c:v>
                </c:pt>
                <c:pt idx="613">
                  <c:v>114.31245276999999</c:v>
                </c:pt>
                <c:pt idx="614">
                  <c:v>114.52089140699999</c:v>
                </c:pt>
                <c:pt idx="615">
                  <c:v>114.92650849</c:v>
                </c:pt>
                <c:pt idx="616">
                  <c:v>115.244546314</c:v>
                </c:pt>
                <c:pt idx="617">
                  <c:v>115.084401383</c:v>
                </c:pt>
                <c:pt idx="618">
                  <c:v>114.688793358</c:v>
                </c:pt>
                <c:pt idx="619">
                  <c:v>115.043114018</c:v>
                </c:pt>
                <c:pt idx="620">
                  <c:v>115.08014753400001</c:v>
                </c:pt>
                <c:pt idx="621">
                  <c:v>115.22527887699999</c:v>
                </c:pt>
                <c:pt idx="622">
                  <c:v>114.543912241</c:v>
                </c:pt>
                <c:pt idx="623">
                  <c:v>115.03035246899999</c:v>
                </c:pt>
                <c:pt idx="624">
                  <c:v>115.718725447</c:v>
                </c:pt>
                <c:pt idx="625">
                  <c:v>115.624139847</c:v>
                </c:pt>
                <c:pt idx="626">
                  <c:v>115.458239707</c:v>
                </c:pt>
                <c:pt idx="627">
                  <c:v>115.426210721</c:v>
                </c:pt>
                <c:pt idx="628">
                  <c:v>116.173136689</c:v>
                </c:pt>
                <c:pt idx="629">
                  <c:v>116.085807656</c:v>
                </c:pt>
                <c:pt idx="630">
                  <c:v>116.02600353299999</c:v>
                </c:pt>
                <c:pt idx="631">
                  <c:v>116.26196708000001</c:v>
                </c:pt>
                <c:pt idx="632">
                  <c:v>116.31051101200001</c:v>
                </c:pt>
                <c:pt idx="633">
                  <c:v>115.192999665</c:v>
                </c:pt>
                <c:pt idx="634">
                  <c:v>115.603120824</c:v>
                </c:pt>
                <c:pt idx="635">
                  <c:v>115.044114924</c:v>
                </c:pt>
                <c:pt idx="636">
                  <c:v>114.583197794</c:v>
                </c:pt>
                <c:pt idx="637">
                  <c:v>113.874556474</c:v>
                </c:pt>
                <c:pt idx="638">
                  <c:v>114.019687817</c:v>
                </c:pt>
                <c:pt idx="639">
                  <c:v>114.75710518</c:v>
                </c:pt>
                <c:pt idx="640">
                  <c:v>114.535154315</c:v>
                </c:pt>
                <c:pt idx="641">
                  <c:v>113.391869642</c:v>
                </c:pt>
                <c:pt idx="642">
                  <c:v>113.121625071</c:v>
                </c:pt>
                <c:pt idx="643">
                  <c:v>112.96973761300001</c:v>
                </c:pt>
                <c:pt idx="644">
                  <c:v>112.412233071</c:v>
                </c:pt>
                <c:pt idx="645">
                  <c:v>113.483702751</c:v>
                </c:pt>
                <c:pt idx="646">
                  <c:v>113.39687417099999</c:v>
                </c:pt>
                <c:pt idx="647">
                  <c:v>113.987158378</c:v>
                </c:pt>
                <c:pt idx="648">
                  <c:v>114.22912736000001</c:v>
                </c:pt>
                <c:pt idx="649">
                  <c:v>114.99356917999999</c:v>
                </c:pt>
                <c:pt idx="650">
                  <c:v>115.64716068</c:v>
                </c:pt>
                <c:pt idx="651">
                  <c:v>116.592766454</c:v>
                </c:pt>
                <c:pt idx="652">
                  <c:v>117.158778695</c:v>
                </c:pt>
                <c:pt idx="653">
                  <c:v>117.232095046</c:v>
                </c:pt>
                <c:pt idx="654">
                  <c:v>117.37297254000001</c:v>
                </c:pt>
                <c:pt idx="655">
                  <c:v>118.633363194</c:v>
                </c:pt>
                <c:pt idx="656">
                  <c:v>118.74571487199999</c:v>
                </c:pt>
                <c:pt idx="657">
                  <c:v>119.39955659899999</c:v>
                </c:pt>
                <c:pt idx="658">
                  <c:v>120.970228056</c:v>
                </c:pt>
                <c:pt idx="659">
                  <c:v>120.06415806299999</c:v>
                </c:pt>
                <c:pt idx="660">
                  <c:v>119.884495468</c:v>
                </c:pt>
                <c:pt idx="661">
                  <c:v>120.26909353000001</c:v>
                </c:pt>
                <c:pt idx="662">
                  <c:v>120.293615722</c:v>
                </c:pt>
                <c:pt idx="663">
                  <c:v>120.211791671</c:v>
                </c:pt>
                <c:pt idx="664">
                  <c:v>120.23281069399999</c:v>
                </c:pt>
                <c:pt idx="665">
                  <c:v>119.620256332</c:v>
                </c:pt>
                <c:pt idx="666">
                  <c:v>120.236063638</c:v>
                </c:pt>
                <c:pt idx="667">
                  <c:v>120.114203354</c:v>
                </c:pt>
                <c:pt idx="668">
                  <c:v>119.782653301</c:v>
                </c:pt>
                <c:pt idx="669">
                  <c:v>119.69307223</c:v>
                </c:pt>
                <c:pt idx="670">
                  <c:v>119.172601204</c:v>
                </c:pt>
                <c:pt idx="671">
                  <c:v>119.099785306</c:v>
                </c:pt>
                <c:pt idx="672">
                  <c:v>118.80326695700001</c:v>
                </c:pt>
                <c:pt idx="673">
                  <c:v>120.50380594400001</c:v>
                </c:pt>
                <c:pt idx="674">
                  <c:v>120.894659667</c:v>
                </c:pt>
                <c:pt idx="675">
                  <c:v>121.22696039900001</c:v>
                </c:pt>
                <c:pt idx="676">
                  <c:v>121.204440018</c:v>
                </c:pt>
                <c:pt idx="677">
                  <c:v>121.97538772599999</c:v>
                </c:pt>
                <c:pt idx="678">
                  <c:v>123.29232955800001</c:v>
                </c:pt>
                <c:pt idx="679">
                  <c:v>123.93891471800001</c:v>
                </c:pt>
                <c:pt idx="680">
                  <c:v>124.148104034</c:v>
                </c:pt>
                <c:pt idx="681">
                  <c:v>125.112727018</c:v>
                </c:pt>
                <c:pt idx="682">
                  <c:v>124.324513685</c:v>
                </c:pt>
                <c:pt idx="683">
                  <c:v>124.53070028400001</c:v>
                </c:pt>
                <c:pt idx="684">
                  <c:v>124.508430129</c:v>
                </c:pt>
                <c:pt idx="685">
                  <c:v>124.778174248</c:v>
                </c:pt>
                <c:pt idx="686">
                  <c:v>125.072941012</c:v>
                </c:pt>
                <c:pt idx="687">
                  <c:v>124.91379698599999</c:v>
                </c:pt>
                <c:pt idx="688">
                  <c:v>124.20765793</c:v>
                </c:pt>
                <c:pt idx="689">
                  <c:v>123.659411768</c:v>
                </c:pt>
                <c:pt idx="690">
                  <c:v>124.095556479</c:v>
                </c:pt>
                <c:pt idx="691">
                  <c:v>123.359890701</c:v>
                </c:pt>
                <c:pt idx="692">
                  <c:v>124.28022360200001</c:v>
                </c:pt>
                <c:pt idx="693">
                  <c:v>122.857936432</c:v>
                </c:pt>
                <c:pt idx="694">
                  <c:v>122.66801455300001</c:v>
                </c:pt>
                <c:pt idx="695">
                  <c:v>122.906230138</c:v>
                </c:pt>
                <c:pt idx="696">
                  <c:v>122.538897702</c:v>
                </c:pt>
                <c:pt idx="697">
                  <c:v>122.203344026</c:v>
                </c:pt>
                <c:pt idx="698">
                  <c:v>123.088645224</c:v>
                </c:pt>
                <c:pt idx="699">
                  <c:v>123.71020773799999</c:v>
                </c:pt>
                <c:pt idx="700">
                  <c:v>124.326015044</c:v>
                </c:pt>
                <c:pt idx="701">
                  <c:v>123.679179658</c:v>
                </c:pt>
                <c:pt idx="702">
                  <c:v>122.94001071</c:v>
                </c:pt>
                <c:pt idx="703">
                  <c:v>122.679775197</c:v>
                </c:pt>
                <c:pt idx="704">
                  <c:v>123.144195497</c:v>
                </c:pt>
                <c:pt idx="705">
                  <c:v>123.119172851</c:v>
                </c:pt>
                <c:pt idx="706">
                  <c:v>122.817399747</c:v>
                </c:pt>
                <c:pt idx="707">
                  <c:v>122.97053833699999</c:v>
                </c:pt>
                <c:pt idx="708">
                  <c:v>123.140942553</c:v>
                </c:pt>
                <c:pt idx="709">
                  <c:v>123.338121</c:v>
                </c:pt>
                <c:pt idx="710">
                  <c:v>122.57893393499999</c:v>
                </c:pt>
                <c:pt idx="711">
                  <c:v>121.72190832699999</c:v>
                </c:pt>
                <c:pt idx="712">
                  <c:v>121.023526291</c:v>
                </c:pt>
                <c:pt idx="713">
                  <c:v>120.332901276</c:v>
                </c:pt>
                <c:pt idx="714">
                  <c:v>120.961970583</c:v>
                </c:pt>
                <c:pt idx="715">
                  <c:v>121.268998444</c:v>
                </c:pt>
                <c:pt idx="716">
                  <c:v>121.099094681</c:v>
                </c:pt>
                <c:pt idx="717">
                  <c:v>120.030127265</c:v>
                </c:pt>
                <c:pt idx="718">
                  <c:v>119.048238656</c:v>
                </c:pt>
                <c:pt idx="719">
                  <c:v>118.99093679800001</c:v>
                </c:pt>
                <c:pt idx="720">
                  <c:v>119.89650633799999</c:v>
                </c:pt>
                <c:pt idx="721">
                  <c:v>119.85471852000001</c:v>
                </c:pt>
                <c:pt idx="722">
                  <c:v>120.60614856399999</c:v>
                </c:pt>
                <c:pt idx="723">
                  <c:v>121.121615062</c:v>
                </c:pt>
                <c:pt idx="724">
                  <c:v>121.866539218</c:v>
                </c:pt>
                <c:pt idx="725">
                  <c:v>122.64424304000001</c:v>
                </c:pt>
                <c:pt idx="726">
                  <c:v>122.919241914</c:v>
                </c:pt>
                <c:pt idx="727">
                  <c:v>123.880111501</c:v>
                </c:pt>
                <c:pt idx="728">
                  <c:v>124.33452274299999</c:v>
                </c:pt>
                <c:pt idx="729">
                  <c:v>124.552970438</c:v>
                </c:pt>
                <c:pt idx="730">
                  <c:v>123.016830231</c:v>
                </c:pt>
                <c:pt idx="731">
                  <c:v>122.998313474</c:v>
                </c:pt>
                <c:pt idx="732">
                  <c:v>122.876703417</c:v>
                </c:pt>
                <c:pt idx="733">
                  <c:v>123.05786737</c:v>
                </c:pt>
                <c:pt idx="734">
                  <c:v>123.08063797699999</c:v>
                </c:pt>
                <c:pt idx="735">
                  <c:v>122.75083951000001</c:v>
                </c:pt>
                <c:pt idx="736">
                  <c:v>123.90688573200001</c:v>
                </c:pt>
                <c:pt idx="737">
                  <c:v>123.728724496</c:v>
                </c:pt>
                <c:pt idx="738">
                  <c:v>123.994464991</c:v>
                </c:pt>
                <c:pt idx="739">
                  <c:v>124.39757981</c:v>
                </c:pt>
                <c:pt idx="740">
                  <c:v>124.687592271</c:v>
                </c:pt>
                <c:pt idx="741">
                  <c:v>124.667824381</c:v>
                </c:pt>
                <c:pt idx="742">
                  <c:v>124.65781532299999</c:v>
                </c:pt>
                <c:pt idx="743">
                  <c:v>124.61903022200001</c:v>
                </c:pt>
                <c:pt idx="744">
                  <c:v>124.801695534</c:v>
                </c:pt>
                <c:pt idx="745">
                  <c:v>124.242189181</c:v>
                </c:pt>
                <c:pt idx="746">
                  <c:v>122.53839725</c:v>
                </c:pt>
                <c:pt idx="747">
                  <c:v>121.79597535800001</c:v>
                </c:pt>
                <c:pt idx="748">
                  <c:v>121.866539218</c:v>
                </c:pt>
                <c:pt idx="749">
                  <c:v>121.476936628</c:v>
                </c:pt>
                <c:pt idx="750">
                  <c:v>122.085987819</c:v>
                </c:pt>
                <c:pt idx="751">
                  <c:v>121.463674626</c:v>
                </c:pt>
                <c:pt idx="752">
                  <c:v>120.262587642</c:v>
                </c:pt>
                <c:pt idx="753">
                  <c:v>119.81943659</c:v>
                </c:pt>
                <c:pt idx="754">
                  <c:v>119.92177921</c:v>
                </c:pt>
                <c:pt idx="755">
                  <c:v>121.332305737</c:v>
                </c:pt>
                <c:pt idx="756">
                  <c:v>122.24788433499999</c:v>
                </c:pt>
                <c:pt idx="757">
                  <c:v>122.511372792</c:v>
                </c:pt>
                <c:pt idx="758">
                  <c:v>123.716713626</c:v>
                </c:pt>
                <c:pt idx="759">
                  <c:v>124.19064253099999</c:v>
                </c:pt>
                <c:pt idx="760">
                  <c:v>124.976603826</c:v>
                </c:pt>
                <c:pt idx="761">
                  <c:v>125.707765528</c:v>
                </c:pt>
                <c:pt idx="762">
                  <c:v>126.042818751</c:v>
                </c:pt>
                <c:pt idx="763">
                  <c:v>126.659376736</c:v>
                </c:pt>
                <c:pt idx="764">
                  <c:v>126.353600008</c:v>
                </c:pt>
                <c:pt idx="765">
                  <c:v>125.966249456</c:v>
                </c:pt>
                <c:pt idx="766">
                  <c:v>126.619840956</c:v>
                </c:pt>
                <c:pt idx="767">
                  <c:v>127.26267271899999</c:v>
                </c:pt>
                <c:pt idx="768">
                  <c:v>127.45759912699999</c:v>
                </c:pt>
                <c:pt idx="769">
                  <c:v>126.88357963999999</c:v>
                </c:pt>
                <c:pt idx="770">
                  <c:v>126.705918857</c:v>
                </c:pt>
                <c:pt idx="771">
                  <c:v>127.655528253</c:v>
                </c:pt>
                <c:pt idx="772">
                  <c:v>126.472958027</c:v>
                </c:pt>
                <c:pt idx="773">
                  <c:v>127.917765578</c:v>
                </c:pt>
                <c:pt idx="774">
                  <c:v>128.09942998400001</c:v>
                </c:pt>
                <c:pt idx="775">
                  <c:v>128.68696170000001</c:v>
                </c:pt>
                <c:pt idx="776">
                  <c:v>128.37893293400001</c:v>
                </c:pt>
                <c:pt idx="777">
                  <c:v>128.34139896600001</c:v>
                </c:pt>
                <c:pt idx="778">
                  <c:v>128.14997572799999</c:v>
                </c:pt>
                <c:pt idx="779">
                  <c:v>127.619495644</c:v>
                </c:pt>
                <c:pt idx="780">
                  <c:v>127.09527122</c:v>
                </c:pt>
                <c:pt idx="781">
                  <c:v>126.482466632</c:v>
                </c:pt>
                <c:pt idx="782">
                  <c:v>127.31547050099999</c:v>
                </c:pt>
                <c:pt idx="783">
                  <c:v>128.196017396</c:v>
                </c:pt>
                <c:pt idx="784">
                  <c:v>127.48712584899999</c:v>
                </c:pt>
                <c:pt idx="785">
                  <c:v>126.60357623599999</c:v>
                </c:pt>
                <c:pt idx="786">
                  <c:v>127.282190382</c:v>
                </c:pt>
                <c:pt idx="787">
                  <c:v>126.93412538299999</c:v>
                </c:pt>
                <c:pt idx="788">
                  <c:v>127.59522367700001</c:v>
                </c:pt>
                <c:pt idx="789">
                  <c:v>128.38093474600001</c:v>
                </c:pt>
                <c:pt idx="790">
                  <c:v>129.040531681</c:v>
                </c:pt>
                <c:pt idx="791">
                  <c:v>129.72690284699999</c:v>
                </c:pt>
                <c:pt idx="792">
                  <c:v>130.485339232</c:v>
                </c:pt>
                <c:pt idx="793">
                  <c:v>130.38549887600001</c:v>
                </c:pt>
                <c:pt idx="794">
                  <c:v>130.22710553100001</c:v>
                </c:pt>
                <c:pt idx="795">
                  <c:v>130.135022195</c:v>
                </c:pt>
                <c:pt idx="796">
                  <c:v>130.73531546000001</c:v>
                </c:pt>
                <c:pt idx="797">
                  <c:v>130.31993954500001</c:v>
                </c:pt>
                <c:pt idx="798">
                  <c:v>130.995050521</c:v>
                </c:pt>
                <c:pt idx="799">
                  <c:v>131.83005620099999</c:v>
                </c:pt>
                <c:pt idx="800">
                  <c:v>131.65840085299999</c:v>
                </c:pt>
                <c:pt idx="801">
                  <c:v>131.05610577600001</c:v>
                </c:pt>
                <c:pt idx="802">
                  <c:v>131.16595518899999</c:v>
                </c:pt>
                <c:pt idx="803">
                  <c:v>131.12541850400001</c:v>
                </c:pt>
                <c:pt idx="804">
                  <c:v>131.95166625799999</c:v>
                </c:pt>
                <c:pt idx="805">
                  <c:v>132.45737392300001</c:v>
                </c:pt>
                <c:pt idx="806">
                  <c:v>132.83997017300001</c:v>
                </c:pt>
                <c:pt idx="807">
                  <c:v>132.44436214800001</c:v>
                </c:pt>
                <c:pt idx="808">
                  <c:v>132.96883679699999</c:v>
                </c:pt>
                <c:pt idx="809">
                  <c:v>132.71510717199999</c:v>
                </c:pt>
                <c:pt idx="810">
                  <c:v>133.51307933699999</c:v>
                </c:pt>
                <c:pt idx="811">
                  <c:v>134.25324919100001</c:v>
                </c:pt>
                <c:pt idx="812">
                  <c:v>134.57428973200001</c:v>
                </c:pt>
                <c:pt idx="813">
                  <c:v>134.41964978300001</c:v>
                </c:pt>
                <c:pt idx="814">
                  <c:v>134.393626232</c:v>
                </c:pt>
                <c:pt idx="815">
                  <c:v>134.57854358200001</c:v>
                </c:pt>
                <c:pt idx="816">
                  <c:v>134.95538462299999</c:v>
                </c:pt>
                <c:pt idx="817">
                  <c:v>135.32647045600001</c:v>
                </c:pt>
                <c:pt idx="818">
                  <c:v>135.67303409600001</c:v>
                </c:pt>
                <c:pt idx="819">
                  <c:v>134.95388326400001</c:v>
                </c:pt>
                <c:pt idx="820">
                  <c:v>135.35624740399999</c:v>
                </c:pt>
                <c:pt idx="821">
                  <c:v>135.64951280899999</c:v>
                </c:pt>
                <c:pt idx="822">
                  <c:v>136.03310996499999</c:v>
                </c:pt>
                <c:pt idx="823">
                  <c:v>135.765367658</c:v>
                </c:pt>
                <c:pt idx="824">
                  <c:v>135.95153614</c:v>
                </c:pt>
                <c:pt idx="825">
                  <c:v>135.56493626700001</c:v>
                </c:pt>
                <c:pt idx="826">
                  <c:v>135.18133911199999</c:v>
                </c:pt>
                <c:pt idx="827">
                  <c:v>135.52039595799999</c:v>
                </c:pt>
                <c:pt idx="828">
                  <c:v>135.74334773000001</c:v>
                </c:pt>
                <c:pt idx="829">
                  <c:v>135.93176825</c:v>
                </c:pt>
                <c:pt idx="830">
                  <c:v>136.38267632200001</c:v>
                </c:pt>
                <c:pt idx="831">
                  <c:v>136.754512834</c:v>
                </c:pt>
                <c:pt idx="832">
                  <c:v>136.65066885499999</c:v>
                </c:pt>
                <c:pt idx="833">
                  <c:v>137.053533448</c:v>
                </c:pt>
                <c:pt idx="834">
                  <c:v>137.08306016899999</c:v>
                </c:pt>
                <c:pt idx="835">
                  <c:v>137.079056546</c:v>
                </c:pt>
                <c:pt idx="836">
                  <c:v>136.89313829</c:v>
                </c:pt>
                <c:pt idx="837">
                  <c:v>136.70822093999999</c:v>
                </c:pt>
                <c:pt idx="838">
                  <c:v>137.16188150299999</c:v>
                </c:pt>
                <c:pt idx="839">
                  <c:v>137.97736951900001</c:v>
                </c:pt>
                <c:pt idx="840">
                  <c:v>138.11574474899999</c:v>
                </c:pt>
                <c:pt idx="841">
                  <c:v>138.369724601</c:v>
                </c:pt>
                <c:pt idx="842">
                  <c:v>137.71313038299999</c:v>
                </c:pt>
                <c:pt idx="843">
                  <c:v>137.91581381099999</c:v>
                </c:pt>
                <c:pt idx="844">
                  <c:v>138.02966684800001</c:v>
                </c:pt>
                <c:pt idx="845">
                  <c:v>138.06544923199999</c:v>
                </c:pt>
                <c:pt idx="846">
                  <c:v>137.8107187</c:v>
                </c:pt>
                <c:pt idx="847">
                  <c:v>138.404005625</c:v>
                </c:pt>
                <c:pt idx="848">
                  <c:v>139.46946987000001</c:v>
                </c:pt>
                <c:pt idx="849">
                  <c:v>139.076113883</c:v>
                </c:pt>
                <c:pt idx="850">
                  <c:v>138.93223367100001</c:v>
                </c:pt>
                <c:pt idx="851">
                  <c:v>138.70552850300001</c:v>
                </c:pt>
                <c:pt idx="852">
                  <c:v>138.39850064300001</c:v>
                </c:pt>
                <c:pt idx="853">
                  <c:v>139.13191438300001</c:v>
                </c:pt>
                <c:pt idx="854">
                  <c:v>139.54353690100001</c:v>
                </c:pt>
                <c:pt idx="855">
                  <c:v>139.62135732799999</c:v>
                </c:pt>
                <c:pt idx="856">
                  <c:v>139.86407699</c:v>
                </c:pt>
                <c:pt idx="857">
                  <c:v>139.94114673799999</c:v>
                </c:pt>
                <c:pt idx="858">
                  <c:v>140.436595119</c:v>
                </c:pt>
                <c:pt idx="859">
                  <c:v>140.21489448</c:v>
                </c:pt>
                <c:pt idx="860">
                  <c:v>139.87233446299999</c:v>
                </c:pt>
                <c:pt idx="861">
                  <c:v>139.239261532</c:v>
                </c:pt>
                <c:pt idx="862">
                  <c:v>139.17420265300001</c:v>
                </c:pt>
                <c:pt idx="863">
                  <c:v>138.87643317199999</c:v>
                </c:pt>
                <c:pt idx="864">
                  <c:v>138.93098253900001</c:v>
                </c:pt>
                <c:pt idx="865">
                  <c:v>139.43318703400001</c:v>
                </c:pt>
                <c:pt idx="866">
                  <c:v>138.907211026</c:v>
                </c:pt>
                <c:pt idx="867">
                  <c:v>139.69067005599999</c:v>
                </c:pt>
                <c:pt idx="868">
                  <c:v>138.746315415</c:v>
                </c:pt>
                <c:pt idx="869">
                  <c:v>138.887943589</c:v>
                </c:pt>
                <c:pt idx="870">
                  <c:v>138.71028280600001</c:v>
                </c:pt>
                <c:pt idx="871">
                  <c:v>139.325589659</c:v>
                </c:pt>
                <c:pt idx="872">
                  <c:v>139.77324478700001</c:v>
                </c:pt>
                <c:pt idx="873">
                  <c:v>140.09203328999999</c:v>
                </c:pt>
                <c:pt idx="874">
                  <c:v>139.509756329</c:v>
                </c:pt>
                <c:pt idx="875">
                  <c:v>139.61385053500001</c:v>
                </c:pt>
                <c:pt idx="876">
                  <c:v>139.621107102</c:v>
                </c:pt>
                <c:pt idx="877">
                  <c:v>138.55113878099999</c:v>
                </c:pt>
                <c:pt idx="878">
                  <c:v>137.39934640800001</c:v>
                </c:pt>
                <c:pt idx="879">
                  <c:v>136.51879951399999</c:v>
                </c:pt>
                <c:pt idx="880">
                  <c:v>136.45023746499999</c:v>
                </c:pt>
                <c:pt idx="881">
                  <c:v>135.970303124</c:v>
                </c:pt>
                <c:pt idx="882">
                  <c:v>135.34949129</c:v>
                </c:pt>
                <c:pt idx="883">
                  <c:v>134.91860133399999</c:v>
                </c:pt>
                <c:pt idx="884">
                  <c:v>135.18609341499999</c:v>
                </c:pt>
                <c:pt idx="885">
                  <c:v>135.939275044</c:v>
                </c:pt>
                <c:pt idx="886">
                  <c:v>136.06213623299999</c:v>
                </c:pt>
                <c:pt idx="887">
                  <c:v>136.630150286</c:v>
                </c:pt>
                <c:pt idx="888">
                  <c:v>137.35455587300001</c:v>
                </c:pt>
                <c:pt idx="889">
                  <c:v>137.24470645900001</c:v>
                </c:pt>
                <c:pt idx="890">
                  <c:v>137.927824681</c:v>
                </c:pt>
                <c:pt idx="891">
                  <c:v>138.58291754000001</c:v>
                </c:pt>
                <c:pt idx="892">
                  <c:v>138.748317227</c:v>
                </c:pt>
                <c:pt idx="893">
                  <c:v>139.22499862399999</c:v>
                </c:pt>
                <c:pt idx="894">
                  <c:v>138.65898638300001</c:v>
                </c:pt>
                <c:pt idx="895">
                  <c:v>139.164193595</c:v>
                </c:pt>
                <c:pt idx="896">
                  <c:v>139.421176164</c:v>
                </c:pt>
                <c:pt idx="897">
                  <c:v>139.842807741</c:v>
                </c:pt>
                <c:pt idx="898">
                  <c:v>139.598836947</c:v>
                </c:pt>
                <c:pt idx="899">
                  <c:v>139.754978255</c:v>
                </c:pt>
                <c:pt idx="900">
                  <c:v>139.72269904300001</c:v>
                </c:pt>
                <c:pt idx="901">
                  <c:v>139.34685890700001</c:v>
                </c:pt>
                <c:pt idx="902">
                  <c:v>140.20413474200001</c:v>
                </c:pt>
                <c:pt idx="903">
                  <c:v>139.757980973</c:v>
                </c:pt>
                <c:pt idx="904">
                  <c:v>139.50925587699999</c:v>
                </c:pt>
                <c:pt idx="905">
                  <c:v>138.499341904</c:v>
                </c:pt>
                <c:pt idx="906">
                  <c:v>137.61554206599999</c:v>
                </c:pt>
                <c:pt idx="907">
                  <c:v>137.170138976</c:v>
                </c:pt>
                <c:pt idx="908">
                  <c:v>137.242704648</c:v>
                </c:pt>
                <c:pt idx="909">
                  <c:v>136.439477727</c:v>
                </c:pt>
                <c:pt idx="910">
                  <c:v>135.81391159</c:v>
                </c:pt>
                <c:pt idx="911">
                  <c:v>135.851195332</c:v>
                </c:pt>
                <c:pt idx="912">
                  <c:v>136.12118967699999</c:v>
                </c:pt>
                <c:pt idx="913">
                  <c:v>136.14846435999999</c:v>
                </c:pt>
                <c:pt idx="914">
                  <c:v>136.00308279000001</c:v>
                </c:pt>
                <c:pt idx="915">
                  <c:v>135.30219848999999</c:v>
                </c:pt>
                <c:pt idx="916">
                  <c:v>134.514735836</c:v>
                </c:pt>
                <c:pt idx="917">
                  <c:v>134.51823900599999</c:v>
                </c:pt>
                <c:pt idx="918">
                  <c:v>133.58364319699999</c:v>
                </c:pt>
                <c:pt idx="919">
                  <c:v>133.39797516799999</c:v>
                </c:pt>
                <c:pt idx="920">
                  <c:v>132.67832388299999</c:v>
                </c:pt>
                <c:pt idx="921">
                  <c:v>132.63403380099999</c:v>
                </c:pt>
                <c:pt idx="922">
                  <c:v>132.029987138</c:v>
                </c:pt>
                <c:pt idx="923">
                  <c:v>130.899213788</c:v>
                </c:pt>
                <c:pt idx="924">
                  <c:v>130.97077855500001</c:v>
                </c:pt>
                <c:pt idx="925">
                  <c:v>131.349120954</c:v>
                </c:pt>
                <c:pt idx="926">
                  <c:v>131.09338951800001</c:v>
                </c:pt>
                <c:pt idx="927">
                  <c:v>131.31634128900001</c:v>
                </c:pt>
                <c:pt idx="928">
                  <c:v>131.31458970400001</c:v>
                </c:pt>
                <c:pt idx="929">
                  <c:v>129.407864117</c:v>
                </c:pt>
                <c:pt idx="930">
                  <c:v>129.342805239</c:v>
                </c:pt>
                <c:pt idx="931">
                  <c:v>129.048038475</c:v>
                </c:pt>
                <c:pt idx="932">
                  <c:v>128.02686431199999</c:v>
                </c:pt>
                <c:pt idx="933">
                  <c:v>127.61223907599999</c:v>
                </c:pt>
                <c:pt idx="934">
                  <c:v>128.96621442399999</c:v>
                </c:pt>
                <c:pt idx="935">
                  <c:v>129.588027165</c:v>
                </c:pt>
                <c:pt idx="936">
                  <c:v>131.05010034099999</c:v>
                </c:pt>
                <c:pt idx="937">
                  <c:v>131.628874131</c:v>
                </c:pt>
                <c:pt idx="938">
                  <c:v>131.784014533</c:v>
                </c:pt>
                <c:pt idx="939">
                  <c:v>132.453120074</c:v>
                </c:pt>
                <c:pt idx="940">
                  <c:v>132.414835426</c:v>
                </c:pt>
                <c:pt idx="941">
                  <c:v>133.47479468899999</c:v>
                </c:pt>
                <c:pt idx="942">
                  <c:v>133.89167196299999</c:v>
                </c:pt>
                <c:pt idx="943">
                  <c:v>133.83737282199999</c:v>
                </c:pt>
                <c:pt idx="944">
                  <c:v>134.74844734499999</c:v>
                </c:pt>
                <c:pt idx="945">
                  <c:v>133.960734465</c:v>
                </c:pt>
                <c:pt idx="946">
                  <c:v>133.597155426</c:v>
                </c:pt>
                <c:pt idx="947">
                  <c:v>134.28477772400001</c:v>
                </c:pt>
                <c:pt idx="948">
                  <c:v>133.59865678400001</c:v>
                </c:pt>
                <c:pt idx="949">
                  <c:v>133.73753246699999</c:v>
                </c:pt>
                <c:pt idx="950">
                  <c:v>134.60706939799999</c:v>
                </c:pt>
                <c:pt idx="951">
                  <c:v>134.92160405199999</c:v>
                </c:pt>
                <c:pt idx="952">
                  <c:v>134.55176935099999</c:v>
                </c:pt>
                <c:pt idx="953">
                  <c:v>134.45368058099999</c:v>
                </c:pt>
                <c:pt idx="954">
                  <c:v>134.481705944</c:v>
                </c:pt>
                <c:pt idx="955">
                  <c:v>134.47344847100001</c:v>
                </c:pt>
                <c:pt idx="956">
                  <c:v>135.30570166000001</c:v>
                </c:pt>
                <c:pt idx="957">
                  <c:v>134.774470896</c:v>
                </c:pt>
                <c:pt idx="958">
                  <c:v>134.80449807100001</c:v>
                </c:pt>
                <c:pt idx="959">
                  <c:v>135.38902706900001</c:v>
                </c:pt>
                <c:pt idx="960">
                  <c:v>135.04171274999999</c:v>
                </c:pt>
                <c:pt idx="961">
                  <c:v>135.16157122199999</c:v>
                </c:pt>
                <c:pt idx="962">
                  <c:v>135.57894894899999</c:v>
                </c:pt>
                <c:pt idx="963">
                  <c:v>135.08500192700001</c:v>
                </c:pt>
                <c:pt idx="964">
                  <c:v>134.88707280099999</c:v>
                </c:pt>
                <c:pt idx="965">
                  <c:v>134.20770797599999</c:v>
                </c:pt>
                <c:pt idx="966">
                  <c:v>134.47545028299999</c:v>
                </c:pt>
                <c:pt idx="967">
                  <c:v>134.42215204799999</c:v>
                </c:pt>
                <c:pt idx="968">
                  <c:v>134.171925593</c:v>
                </c:pt>
                <c:pt idx="969">
                  <c:v>134.23873605599999</c:v>
                </c:pt>
                <c:pt idx="970">
                  <c:v>133.87690860199999</c:v>
                </c:pt>
                <c:pt idx="971">
                  <c:v>133.09520115699999</c:v>
                </c:pt>
                <c:pt idx="972">
                  <c:v>132.254190042</c:v>
                </c:pt>
                <c:pt idx="973">
                  <c:v>132.429598787</c:v>
                </c:pt>
                <c:pt idx="974">
                  <c:v>131.16220179300001</c:v>
                </c:pt>
                <c:pt idx="975">
                  <c:v>129.44014333000001</c:v>
                </c:pt>
                <c:pt idx="976">
                  <c:v>130.160044841</c:v>
                </c:pt>
                <c:pt idx="977">
                  <c:v>130.767344447</c:v>
                </c:pt>
                <c:pt idx="978">
                  <c:v>132.446363959</c:v>
                </c:pt>
                <c:pt idx="979">
                  <c:v>133.24959088</c:v>
                </c:pt>
                <c:pt idx="980">
                  <c:v>133.98575711000001</c:v>
                </c:pt>
                <c:pt idx="981">
                  <c:v>133.914442571</c:v>
                </c:pt>
                <c:pt idx="982">
                  <c:v>134.379863777</c:v>
                </c:pt>
                <c:pt idx="983">
                  <c:v>134.918351108</c:v>
                </c:pt>
                <c:pt idx="984">
                  <c:v>133.979501449</c:v>
                </c:pt>
                <c:pt idx="985">
                  <c:v>133.408484679</c:v>
                </c:pt>
                <c:pt idx="986">
                  <c:v>132.82670817100001</c:v>
                </c:pt>
                <c:pt idx="987">
                  <c:v>130.59919226900001</c:v>
                </c:pt>
                <c:pt idx="988">
                  <c:v>129.54323662900001</c:v>
                </c:pt>
                <c:pt idx="989">
                  <c:v>129.518213984</c:v>
                </c:pt>
                <c:pt idx="990">
                  <c:v>131.28431230300001</c:v>
                </c:pt>
                <c:pt idx="991">
                  <c:v>131.089385894</c:v>
                </c:pt>
                <c:pt idx="992">
                  <c:v>130.764591956</c:v>
                </c:pt>
                <c:pt idx="993">
                  <c:v>131.334107367</c:v>
                </c:pt>
                <c:pt idx="994">
                  <c:v>130.971028781</c:v>
                </c:pt>
                <c:pt idx="995">
                  <c:v>132.10255280999999</c:v>
                </c:pt>
                <c:pt idx="996">
                  <c:v>132.63053063000001</c:v>
                </c:pt>
                <c:pt idx="997">
                  <c:v>133.06392285000001</c:v>
                </c:pt>
                <c:pt idx="998">
                  <c:v>133.15675686500001</c:v>
                </c:pt>
                <c:pt idx="999">
                  <c:v>133.89842807700001</c:v>
                </c:pt>
                <c:pt idx="1000">
                  <c:v>134.25525100199999</c:v>
                </c:pt>
                <c:pt idx="1001">
                  <c:v>134.42065068900001</c:v>
                </c:pt>
                <c:pt idx="1002">
                  <c:v>134.42915838799999</c:v>
                </c:pt>
                <c:pt idx="1003">
                  <c:v>134.84753702099999</c:v>
                </c:pt>
                <c:pt idx="1004">
                  <c:v>134.057822329</c:v>
                </c:pt>
                <c:pt idx="1005">
                  <c:v>133.88541630200001</c:v>
                </c:pt>
                <c:pt idx="1006">
                  <c:v>132.45687347</c:v>
                </c:pt>
                <c:pt idx="1007">
                  <c:v>133.58789704700001</c:v>
                </c:pt>
                <c:pt idx="1008">
                  <c:v>134.71867039700001</c:v>
                </c:pt>
                <c:pt idx="1009">
                  <c:v>134.87205921399999</c:v>
                </c:pt>
                <c:pt idx="1010">
                  <c:v>135.478107687</c:v>
                </c:pt>
                <c:pt idx="1011">
                  <c:v>134.621832759</c:v>
                </c:pt>
                <c:pt idx="1012">
                  <c:v>133.787077305</c:v>
                </c:pt>
                <c:pt idx="1013">
                  <c:v>134.458184657</c:v>
                </c:pt>
                <c:pt idx="1014">
                  <c:v>133.85964297699999</c:v>
                </c:pt>
                <c:pt idx="1015">
                  <c:v>134.21121114600001</c:v>
                </c:pt>
                <c:pt idx="1016">
                  <c:v>134.93911990399999</c:v>
                </c:pt>
                <c:pt idx="1017">
                  <c:v>134.87856510099999</c:v>
                </c:pt>
                <c:pt idx="1018">
                  <c:v>134.915598617</c:v>
                </c:pt>
                <c:pt idx="1019">
                  <c:v>135.203609266</c:v>
                </c:pt>
                <c:pt idx="1020">
                  <c:v>135.00668104600001</c:v>
                </c:pt>
                <c:pt idx="1021">
                  <c:v>134.92335563699999</c:v>
                </c:pt>
                <c:pt idx="1022">
                  <c:v>135.05397384599999</c:v>
                </c:pt>
                <c:pt idx="1023">
                  <c:v>135.65026348800001</c:v>
                </c:pt>
                <c:pt idx="1024">
                  <c:v>136.25030652699999</c:v>
                </c:pt>
                <c:pt idx="1025">
                  <c:v>135.49862625700001</c:v>
                </c:pt>
                <c:pt idx="1026">
                  <c:v>135.42756194399999</c:v>
                </c:pt>
                <c:pt idx="1027">
                  <c:v>134.827268678</c:v>
                </c:pt>
                <c:pt idx="1028">
                  <c:v>134.46268873299999</c:v>
                </c:pt>
                <c:pt idx="1029">
                  <c:v>133.87565746999999</c:v>
                </c:pt>
                <c:pt idx="1030">
                  <c:v>133.74403835499999</c:v>
                </c:pt>
                <c:pt idx="1031">
                  <c:v>131.86708971600001</c:v>
                </c:pt>
                <c:pt idx="1032">
                  <c:v>131.11941306899999</c:v>
                </c:pt>
                <c:pt idx="1033">
                  <c:v>129.334297539</c:v>
                </c:pt>
                <c:pt idx="1034">
                  <c:v>128.82733874199999</c:v>
                </c:pt>
                <c:pt idx="1035">
                  <c:v>129.997647871</c:v>
                </c:pt>
                <c:pt idx="1036">
                  <c:v>128.834345082</c:v>
                </c:pt>
                <c:pt idx="1037">
                  <c:v>129.94109669299999</c:v>
                </c:pt>
                <c:pt idx="1038">
                  <c:v>129.716643562</c:v>
                </c:pt>
                <c:pt idx="1039">
                  <c:v>130.68026563999999</c:v>
                </c:pt>
                <c:pt idx="1040">
                  <c:v>131.31083630699999</c:v>
                </c:pt>
                <c:pt idx="1041">
                  <c:v>133.13098353999999</c:v>
                </c:pt>
                <c:pt idx="1042">
                  <c:v>134.05456938500001</c:v>
                </c:pt>
                <c:pt idx="1043">
                  <c:v>133.981002808</c:v>
                </c:pt>
                <c:pt idx="1044">
                  <c:v>133.61567218299999</c:v>
                </c:pt>
                <c:pt idx="1045">
                  <c:v>132.326755714</c:v>
                </c:pt>
                <c:pt idx="1046">
                  <c:v>132.322001411</c:v>
                </c:pt>
                <c:pt idx="1047">
                  <c:v>132.116815718</c:v>
                </c:pt>
                <c:pt idx="1048">
                  <c:v>131.592090842</c:v>
                </c:pt>
                <c:pt idx="1049">
                  <c:v>131.73897377099999</c:v>
                </c:pt>
                <c:pt idx="1050">
                  <c:v>132.655303049</c:v>
                </c:pt>
                <c:pt idx="1051">
                  <c:v>134.02779515500001</c:v>
                </c:pt>
                <c:pt idx="1052">
                  <c:v>134.004023641</c:v>
                </c:pt>
                <c:pt idx="1053">
                  <c:v>134.10786762000001</c:v>
                </c:pt>
                <c:pt idx="1054">
                  <c:v>134.46744303599999</c:v>
                </c:pt>
                <c:pt idx="1055">
                  <c:v>134.02954674</c:v>
                </c:pt>
                <c:pt idx="1056">
                  <c:v>135.25090206600001</c:v>
                </c:pt>
                <c:pt idx="1057">
                  <c:v>135.36750759399999</c:v>
                </c:pt>
                <c:pt idx="1058">
                  <c:v>135.698306968</c:v>
                </c:pt>
                <c:pt idx="1059">
                  <c:v>135.08800464399999</c:v>
                </c:pt>
                <c:pt idx="1060">
                  <c:v>135.34523744000001</c:v>
                </c:pt>
                <c:pt idx="1061">
                  <c:v>135.35624740399999</c:v>
                </c:pt>
                <c:pt idx="1062">
                  <c:v>135.21411877700001</c:v>
                </c:pt>
                <c:pt idx="1063">
                  <c:v>135.74109569199999</c:v>
                </c:pt>
                <c:pt idx="1064">
                  <c:v>136.927169088</c:v>
                </c:pt>
                <c:pt idx="1065">
                  <c:v>137.25096212099999</c:v>
                </c:pt>
                <c:pt idx="1066">
                  <c:v>137.40460116400001</c:v>
                </c:pt>
                <c:pt idx="1067">
                  <c:v>137.063542506</c:v>
                </c:pt>
                <c:pt idx="1068">
                  <c:v>136.209519615</c:v>
                </c:pt>
                <c:pt idx="1069">
                  <c:v>135.82442110100001</c:v>
                </c:pt>
                <c:pt idx="1070">
                  <c:v>136.17724040300001</c:v>
                </c:pt>
                <c:pt idx="1071">
                  <c:v>135.26441429499999</c:v>
                </c:pt>
                <c:pt idx="1072">
                  <c:v>135.32046502099999</c:v>
                </c:pt>
                <c:pt idx="1073">
                  <c:v>134.339327091</c:v>
                </c:pt>
                <c:pt idx="1074">
                  <c:v>136.17223587300001</c:v>
                </c:pt>
                <c:pt idx="1075">
                  <c:v>135.86395688100001</c:v>
                </c:pt>
                <c:pt idx="1076">
                  <c:v>135.49637421899999</c:v>
                </c:pt>
                <c:pt idx="1077">
                  <c:v>136.17198564700001</c:v>
                </c:pt>
                <c:pt idx="1078">
                  <c:v>137.119092779</c:v>
                </c:pt>
                <c:pt idx="1079">
                  <c:v>137.71112857099999</c:v>
                </c:pt>
                <c:pt idx="1080">
                  <c:v>136.979466417</c:v>
                </c:pt>
                <c:pt idx="1081">
                  <c:v>136.27607985200001</c:v>
                </c:pt>
                <c:pt idx="1082">
                  <c:v>135.99582622299999</c:v>
                </c:pt>
                <c:pt idx="1083">
                  <c:v>136.53406332700001</c:v>
                </c:pt>
                <c:pt idx="1084">
                  <c:v>135.81115909900001</c:v>
                </c:pt>
                <c:pt idx="1085">
                  <c:v>135.87821978900001</c:v>
                </c:pt>
                <c:pt idx="1086">
                  <c:v>134.22272156299999</c:v>
                </c:pt>
                <c:pt idx="1087">
                  <c:v>134.44842582499999</c:v>
                </c:pt>
                <c:pt idx="1088">
                  <c:v>133.959233106</c:v>
                </c:pt>
                <c:pt idx="1089">
                  <c:v>133.30739319099999</c:v>
                </c:pt>
                <c:pt idx="1090">
                  <c:v>132.84297289</c:v>
                </c:pt>
                <c:pt idx="1091">
                  <c:v>132.97534268499999</c:v>
                </c:pt>
                <c:pt idx="1092">
                  <c:v>133.23382661299999</c:v>
                </c:pt>
                <c:pt idx="1093">
                  <c:v>132.18062346400001</c:v>
                </c:pt>
                <c:pt idx="1094">
                  <c:v>130.55340082800001</c:v>
                </c:pt>
                <c:pt idx="1095">
                  <c:v>130.02617368700001</c:v>
                </c:pt>
                <c:pt idx="1096">
                  <c:v>130.017415761</c:v>
                </c:pt>
                <c:pt idx="1097">
                  <c:v>131.92238976300001</c:v>
                </c:pt>
                <c:pt idx="1098">
                  <c:v>132.29647831299999</c:v>
                </c:pt>
                <c:pt idx="1099">
                  <c:v>132.08453650600001</c:v>
                </c:pt>
                <c:pt idx="1100">
                  <c:v>131.03758901800001</c:v>
                </c:pt>
                <c:pt idx="1101">
                  <c:v>131.54029396600001</c:v>
                </c:pt>
                <c:pt idx="1102">
                  <c:v>131.57107181999999</c:v>
                </c:pt>
                <c:pt idx="1103">
                  <c:v>133.13348580499999</c:v>
                </c:pt>
                <c:pt idx="1104">
                  <c:v>132.706849699</c:v>
                </c:pt>
                <c:pt idx="1105">
                  <c:v>134.17542876300001</c:v>
                </c:pt>
                <c:pt idx="1106">
                  <c:v>133.95898288000001</c:v>
                </c:pt>
                <c:pt idx="1107">
                  <c:v>133.62142739199999</c:v>
                </c:pt>
                <c:pt idx="1108">
                  <c:v>133.39146928</c:v>
                </c:pt>
                <c:pt idx="1109">
                  <c:v>132.66230938999999</c:v>
                </c:pt>
                <c:pt idx="1110">
                  <c:v>130.29992142899999</c:v>
                </c:pt>
                <c:pt idx="1111">
                  <c:v>130.03718365099999</c:v>
                </c:pt>
                <c:pt idx="1112">
                  <c:v>130.549897657</c:v>
                </c:pt>
                <c:pt idx="1113">
                  <c:v>130.934245492</c:v>
                </c:pt>
                <c:pt idx="1114">
                  <c:v>130.364479854</c:v>
                </c:pt>
                <c:pt idx="1115">
                  <c:v>129.25522598000001</c:v>
                </c:pt>
                <c:pt idx="1116">
                  <c:v>128.47902351600001</c:v>
                </c:pt>
                <c:pt idx="1117">
                  <c:v>127.53416842199999</c:v>
                </c:pt>
                <c:pt idx="1118">
                  <c:v>128.18425675200001</c:v>
                </c:pt>
                <c:pt idx="1119">
                  <c:v>130.032179122</c:v>
                </c:pt>
                <c:pt idx="1120">
                  <c:v>130.68501994299999</c:v>
                </c:pt>
                <c:pt idx="1121">
                  <c:v>131.36313363599999</c:v>
                </c:pt>
                <c:pt idx="1122">
                  <c:v>131.077625251</c:v>
                </c:pt>
                <c:pt idx="1123">
                  <c:v>131.92138885700001</c:v>
                </c:pt>
                <c:pt idx="1124">
                  <c:v>131.45046266899999</c:v>
                </c:pt>
                <c:pt idx="1125">
                  <c:v>131.493001166</c:v>
                </c:pt>
                <c:pt idx="1126">
                  <c:v>131.38240107300001</c:v>
                </c:pt>
                <c:pt idx="1127">
                  <c:v>130.43454326200001</c:v>
                </c:pt>
                <c:pt idx="1128">
                  <c:v>129.85426811299999</c:v>
                </c:pt>
                <c:pt idx="1129">
                  <c:v>128.92843022900001</c:v>
                </c:pt>
                <c:pt idx="1130">
                  <c:v>128.263828765</c:v>
                </c:pt>
                <c:pt idx="1131">
                  <c:v>128.72574680100001</c:v>
                </c:pt>
                <c:pt idx="1132">
                  <c:v>129.86727988800001</c:v>
                </c:pt>
                <c:pt idx="1133">
                  <c:v>129.72064718600001</c:v>
                </c:pt>
                <c:pt idx="1134">
                  <c:v>130.439547791</c:v>
                </c:pt>
                <c:pt idx="1135">
                  <c:v>130.004904439</c:v>
                </c:pt>
                <c:pt idx="1136">
                  <c:v>130.228356663</c:v>
                </c:pt>
                <c:pt idx="1137">
                  <c:v>129.977379528</c:v>
                </c:pt>
                <c:pt idx="1138">
                  <c:v>129.455907596</c:v>
                </c:pt>
                <c:pt idx="1139">
                  <c:v>129.03802941699999</c:v>
                </c:pt>
                <c:pt idx="1140">
                  <c:v>129.83424999600001</c:v>
                </c:pt>
                <c:pt idx="1141">
                  <c:v>128.89740214899999</c:v>
                </c:pt>
                <c:pt idx="1142">
                  <c:v>128.49804072699999</c:v>
                </c:pt>
                <c:pt idx="1143">
                  <c:v>128.330389002</c:v>
                </c:pt>
                <c:pt idx="1144">
                  <c:v>128.582116816</c:v>
                </c:pt>
                <c:pt idx="1145">
                  <c:v>128.25607174500001</c:v>
                </c:pt>
                <c:pt idx="1146">
                  <c:v>127.742356833</c:v>
                </c:pt>
                <c:pt idx="1147">
                  <c:v>126.983169769</c:v>
                </c:pt>
                <c:pt idx="1148">
                  <c:v>125.83412988800001</c:v>
                </c:pt>
                <c:pt idx="1149">
                  <c:v>123.36264319199999</c:v>
                </c:pt>
                <c:pt idx="1150">
                  <c:v>118.277040722</c:v>
                </c:pt>
                <c:pt idx="1151">
                  <c:v>119.139321086</c:v>
                </c:pt>
                <c:pt idx="1152">
                  <c:v>119.012956726</c:v>
                </c:pt>
                <c:pt idx="1153">
                  <c:v>121.452664662</c:v>
                </c:pt>
                <c:pt idx="1154">
                  <c:v>121.650093334</c:v>
                </c:pt>
                <c:pt idx="1155">
                  <c:v>120.951461072</c:v>
                </c:pt>
                <c:pt idx="1156">
                  <c:v>118.435684294</c:v>
                </c:pt>
                <c:pt idx="1157">
                  <c:v>118.23049860099999</c:v>
                </c:pt>
                <c:pt idx="1158">
                  <c:v>119.136318368</c:v>
                </c:pt>
                <c:pt idx="1159">
                  <c:v>117.091217552</c:v>
                </c:pt>
                <c:pt idx="1160">
                  <c:v>117.10347864800001</c:v>
                </c:pt>
                <c:pt idx="1161">
                  <c:v>119.87899048600001</c:v>
                </c:pt>
                <c:pt idx="1162">
                  <c:v>120.850619811</c:v>
                </c:pt>
                <c:pt idx="1163">
                  <c:v>119.854968747</c:v>
                </c:pt>
                <c:pt idx="1164">
                  <c:v>119.560201983</c:v>
                </c:pt>
                <c:pt idx="1165">
                  <c:v>119.56195356800001</c:v>
                </c:pt>
                <c:pt idx="1166">
                  <c:v>119.564205606</c:v>
                </c:pt>
                <c:pt idx="1167">
                  <c:v>121.512218558</c:v>
                </c:pt>
                <c:pt idx="1168">
                  <c:v>121.60605347800001</c:v>
                </c:pt>
                <c:pt idx="1169">
                  <c:v>121.28551339000001</c:v>
                </c:pt>
                <c:pt idx="1170">
                  <c:v>120.74527447299999</c:v>
                </c:pt>
                <c:pt idx="1171">
                  <c:v>118.919372032</c:v>
                </c:pt>
                <c:pt idx="1172">
                  <c:v>118.430929992</c:v>
                </c:pt>
                <c:pt idx="1173">
                  <c:v>118.26427917300001</c:v>
                </c:pt>
                <c:pt idx="1174">
                  <c:v>119.08101832200001</c:v>
                </c:pt>
                <c:pt idx="1175">
                  <c:v>117.752315846</c:v>
                </c:pt>
                <c:pt idx="1176">
                  <c:v>116.930822394</c:v>
                </c:pt>
                <c:pt idx="1177">
                  <c:v>119.07050881000001</c:v>
                </c:pt>
                <c:pt idx="1178">
                  <c:v>118.928630411</c:v>
                </c:pt>
                <c:pt idx="1179">
                  <c:v>119.87798958099999</c:v>
                </c:pt>
                <c:pt idx="1180">
                  <c:v>122.41128221</c:v>
                </c:pt>
                <c:pt idx="1181">
                  <c:v>123.260050346</c:v>
                </c:pt>
                <c:pt idx="1182">
                  <c:v>124.075538362</c:v>
                </c:pt>
                <c:pt idx="1183">
                  <c:v>124.74114073200001</c:v>
                </c:pt>
                <c:pt idx="1184">
                  <c:v>125.925462544</c:v>
                </c:pt>
                <c:pt idx="1185">
                  <c:v>126.207717985</c:v>
                </c:pt>
                <c:pt idx="1186">
                  <c:v>124.967345448</c:v>
                </c:pt>
                <c:pt idx="1187">
                  <c:v>125.1570171</c:v>
                </c:pt>
                <c:pt idx="1188">
                  <c:v>126.435424059</c:v>
                </c:pt>
                <c:pt idx="1189">
                  <c:v>127.181349121</c:v>
                </c:pt>
                <c:pt idx="1190">
                  <c:v>126.81326600600001</c:v>
                </c:pt>
                <c:pt idx="1191">
                  <c:v>126.80025422999999</c:v>
                </c:pt>
                <c:pt idx="1192">
                  <c:v>126.539268038</c:v>
                </c:pt>
                <c:pt idx="1193">
                  <c:v>127.604982509</c:v>
                </c:pt>
                <c:pt idx="1194">
                  <c:v>128.18025312899999</c:v>
                </c:pt>
                <c:pt idx="1195">
                  <c:v>128.03311997399999</c:v>
                </c:pt>
                <c:pt idx="1196">
                  <c:v>127.15607624899999</c:v>
                </c:pt>
                <c:pt idx="1197">
                  <c:v>127.790900765</c:v>
                </c:pt>
                <c:pt idx="1198">
                  <c:v>126.53176124399999</c:v>
                </c:pt>
                <c:pt idx="1199">
                  <c:v>126.87632307200001</c:v>
                </c:pt>
                <c:pt idx="1200">
                  <c:v>126.849548842</c:v>
                </c:pt>
                <c:pt idx="1201">
                  <c:v>127.087764427</c:v>
                </c:pt>
                <c:pt idx="1202">
                  <c:v>127.160079872</c:v>
                </c:pt>
                <c:pt idx="1203">
                  <c:v>126.487471161</c:v>
                </c:pt>
                <c:pt idx="1204">
                  <c:v>124.82496659500001</c:v>
                </c:pt>
                <c:pt idx="1205">
                  <c:v>123.781021825</c:v>
                </c:pt>
                <c:pt idx="1206">
                  <c:v>123.663415391</c:v>
                </c:pt>
                <c:pt idx="1207">
                  <c:v>123.93365996199999</c:v>
                </c:pt>
                <c:pt idx="1208">
                  <c:v>123.22151547199999</c:v>
                </c:pt>
                <c:pt idx="1209">
                  <c:v>122.04420000099999</c:v>
                </c:pt>
                <c:pt idx="1210">
                  <c:v>122.650748928</c:v>
                </c:pt>
                <c:pt idx="1211">
                  <c:v>123.756749859</c:v>
                </c:pt>
                <c:pt idx="1212">
                  <c:v>123.949924682</c:v>
                </c:pt>
                <c:pt idx="1213">
                  <c:v>125.54386719999999</c:v>
                </c:pt>
                <c:pt idx="1214">
                  <c:v>125.755058328</c:v>
                </c:pt>
                <c:pt idx="1215">
                  <c:v>124.958087069</c:v>
                </c:pt>
                <c:pt idx="1216">
                  <c:v>124.716868766</c:v>
                </c:pt>
                <c:pt idx="1217">
                  <c:v>124.738638468</c:v>
                </c:pt>
                <c:pt idx="1218">
                  <c:v>125.447780241</c:v>
                </c:pt>
                <c:pt idx="1219">
                  <c:v>124.75765567800001</c:v>
                </c:pt>
                <c:pt idx="1220">
                  <c:v>124.912295628</c:v>
                </c:pt>
                <c:pt idx="1221">
                  <c:v>125.900940351</c:v>
                </c:pt>
                <c:pt idx="1222">
                  <c:v>125.16377321500001</c:v>
                </c:pt>
                <c:pt idx="1223">
                  <c:v>124.64105015</c:v>
                </c:pt>
                <c:pt idx="1224">
                  <c:v>125.05042063099999</c:v>
                </c:pt>
                <c:pt idx="1225">
                  <c:v>124.68483978</c:v>
                </c:pt>
                <c:pt idx="1226">
                  <c:v>123.533047408</c:v>
                </c:pt>
                <c:pt idx="1227">
                  <c:v>123.649903162</c:v>
                </c:pt>
                <c:pt idx="1228">
                  <c:v>123.02683929</c:v>
                </c:pt>
                <c:pt idx="1229">
                  <c:v>121.620816839</c:v>
                </c:pt>
                <c:pt idx="1230">
                  <c:v>120.87364064499999</c:v>
                </c:pt>
                <c:pt idx="1231">
                  <c:v>121.845770422</c:v>
                </c:pt>
                <c:pt idx="1232">
                  <c:v>123.057366917</c:v>
                </c:pt>
                <c:pt idx="1233">
                  <c:v>122.618719942</c:v>
                </c:pt>
                <c:pt idx="1234">
                  <c:v>122.27741105699999</c:v>
                </c:pt>
                <c:pt idx="1235">
                  <c:v>122.286919662</c:v>
                </c:pt>
                <c:pt idx="1236">
                  <c:v>122.94576591800001</c:v>
                </c:pt>
                <c:pt idx="1237">
                  <c:v>124.454881668</c:v>
                </c:pt>
                <c:pt idx="1238">
                  <c:v>124.992368093</c:v>
                </c:pt>
                <c:pt idx="1239">
                  <c:v>124.660067361</c:v>
                </c:pt>
                <c:pt idx="1240">
                  <c:v>125.472052207</c:v>
                </c:pt>
                <c:pt idx="1241">
                  <c:v>125.10622112999999</c:v>
                </c:pt>
                <c:pt idx="1242">
                  <c:v>124.108067801</c:v>
                </c:pt>
                <c:pt idx="1243">
                  <c:v>122.008417618</c:v>
                </c:pt>
                <c:pt idx="1244">
                  <c:v>122.05971404100001</c:v>
                </c:pt>
                <c:pt idx="1245">
                  <c:v>120.887903553</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40602</c:v>
                </c:pt>
                <c:pt idx="1">
                  <c:v>40603</c:v>
                </c:pt>
                <c:pt idx="2">
                  <c:v>40604</c:v>
                </c:pt>
                <c:pt idx="3">
                  <c:v>40605</c:v>
                </c:pt>
                <c:pt idx="4">
                  <c:v>40606</c:v>
                </c:pt>
                <c:pt idx="5">
                  <c:v>40609</c:v>
                </c:pt>
                <c:pt idx="6">
                  <c:v>40610</c:v>
                </c:pt>
                <c:pt idx="7">
                  <c:v>40611</c:v>
                </c:pt>
                <c:pt idx="8">
                  <c:v>40612</c:v>
                </c:pt>
                <c:pt idx="9">
                  <c:v>40613</c:v>
                </c:pt>
                <c:pt idx="10">
                  <c:v>40616</c:v>
                </c:pt>
                <c:pt idx="11">
                  <c:v>40617</c:v>
                </c:pt>
                <c:pt idx="12">
                  <c:v>40618</c:v>
                </c:pt>
                <c:pt idx="13">
                  <c:v>40619</c:v>
                </c:pt>
                <c:pt idx="14">
                  <c:v>40620</c:v>
                </c:pt>
                <c:pt idx="15">
                  <c:v>40623</c:v>
                </c:pt>
                <c:pt idx="16">
                  <c:v>40624</c:v>
                </c:pt>
                <c:pt idx="17">
                  <c:v>40625</c:v>
                </c:pt>
                <c:pt idx="18">
                  <c:v>40626</c:v>
                </c:pt>
                <c:pt idx="19">
                  <c:v>40627</c:v>
                </c:pt>
                <c:pt idx="20">
                  <c:v>40630</c:v>
                </c:pt>
                <c:pt idx="21">
                  <c:v>40631</c:v>
                </c:pt>
                <c:pt idx="22">
                  <c:v>40632</c:v>
                </c:pt>
                <c:pt idx="23">
                  <c:v>40633</c:v>
                </c:pt>
                <c:pt idx="24">
                  <c:v>40634</c:v>
                </c:pt>
                <c:pt idx="25">
                  <c:v>40637</c:v>
                </c:pt>
                <c:pt idx="26">
                  <c:v>40638</c:v>
                </c:pt>
                <c:pt idx="27">
                  <c:v>40639</c:v>
                </c:pt>
                <c:pt idx="28">
                  <c:v>40640</c:v>
                </c:pt>
                <c:pt idx="29">
                  <c:v>40641</c:v>
                </c:pt>
                <c:pt idx="30">
                  <c:v>40644</c:v>
                </c:pt>
                <c:pt idx="31">
                  <c:v>40645</c:v>
                </c:pt>
                <c:pt idx="32">
                  <c:v>40646</c:v>
                </c:pt>
                <c:pt idx="33">
                  <c:v>40647</c:v>
                </c:pt>
                <c:pt idx="34">
                  <c:v>40648</c:v>
                </c:pt>
                <c:pt idx="35">
                  <c:v>40651</c:v>
                </c:pt>
                <c:pt idx="36">
                  <c:v>40652</c:v>
                </c:pt>
                <c:pt idx="37">
                  <c:v>40653</c:v>
                </c:pt>
                <c:pt idx="38">
                  <c:v>40654</c:v>
                </c:pt>
                <c:pt idx="39">
                  <c:v>40659</c:v>
                </c:pt>
                <c:pt idx="40">
                  <c:v>40660</c:v>
                </c:pt>
                <c:pt idx="41">
                  <c:v>40661</c:v>
                </c:pt>
                <c:pt idx="42">
                  <c:v>40662</c:v>
                </c:pt>
                <c:pt idx="43">
                  <c:v>40665</c:v>
                </c:pt>
                <c:pt idx="44">
                  <c:v>40666</c:v>
                </c:pt>
                <c:pt idx="45">
                  <c:v>40667</c:v>
                </c:pt>
                <c:pt idx="46">
                  <c:v>40668</c:v>
                </c:pt>
                <c:pt idx="47">
                  <c:v>40669</c:v>
                </c:pt>
                <c:pt idx="48">
                  <c:v>40672</c:v>
                </c:pt>
                <c:pt idx="49">
                  <c:v>40673</c:v>
                </c:pt>
                <c:pt idx="50">
                  <c:v>40674</c:v>
                </c:pt>
                <c:pt idx="51">
                  <c:v>40675</c:v>
                </c:pt>
                <c:pt idx="52">
                  <c:v>40676</c:v>
                </c:pt>
                <c:pt idx="53">
                  <c:v>40679</c:v>
                </c:pt>
                <c:pt idx="54">
                  <c:v>40680</c:v>
                </c:pt>
                <c:pt idx="55">
                  <c:v>40681</c:v>
                </c:pt>
                <c:pt idx="56">
                  <c:v>40682</c:v>
                </c:pt>
                <c:pt idx="57">
                  <c:v>40683</c:v>
                </c:pt>
                <c:pt idx="58">
                  <c:v>40686</c:v>
                </c:pt>
                <c:pt idx="59">
                  <c:v>40687</c:v>
                </c:pt>
                <c:pt idx="60">
                  <c:v>40688</c:v>
                </c:pt>
                <c:pt idx="61">
                  <c:v>40689</c:v>
                </c:pt>
                <c:pt idx="62">
                  <c:v>40690</c:v>
                </c:pt>
                <c:pt idx="63">
                  <c:v>40693</c:v>
                </c:pt>
                <c:pt idx="64">
                  <c:v>40694</c:v>
                </c:pt>
                <c:pt idx="65">
                  <c:v>40695</c:v>
                </c:pt>
                <c:pt idx="66">
                  <c:v>40696</c:v>
                </c:pt>
                <c:pt idx="67">
                  <c:v>40697</c:v>
                </c:pt>
                <c:pt idx="68">
                  <c:v>40700</c:v>
                </c:pt>
                <c:pt idx="69">
                  <c:v>40701</c:v>
                </c:pt>
                <c:pt idx="70">
                  <c:v>40702</c:v>
                </c:pt>
                <c:pt idx="71">
                  <c:v>40703</c:v>
                </c:pt>
                <c:pt idx="72">
                  <c:v>40704</c:v>
                </c:pt>
                <c:pt idx="73">
                  <c:v>40707</c:v>
                </c:pt>
                <c:pt idx="74">
                  <c:v>40708</c:v>
                </c:pt>
                <c:pt idx="75">
                  <c:v>40709</c:v>
                </c:pt>
                <c:pt idx="76">
                  <c:v>40710</c:v>
                </c:pt>
                <c:pt idx="77">
                  <c:v>40711</c:v>
                </c:pt>
                <c:pt idx="78">
                  <c:v>40714</c:v>
                </c:pt>
                <c:pt idx="79">
                  <c:v>40715</c:v>
                </c:pt>
                <c:pt idx="80">
                  <c:v>40716</c:v>
                </c:pt>
                <c:pt idx="81">
                  <c:v>40717</c:v>
                </c:pt>
                <c:pt idx="82">
                  <c:v>40718</c:v>
                </c:pt>
                <c:pt idx="83">
                  <c:v>40721</c:v>
                </c:pt>
                <c:pt idx="84">
                  <c:v>40722</c:v>
                </c:pt>
                <c:pt idx="85">
                  <c:v>40723</c:v>
                </c:pt>
                <c:pt idx="86">
                  <c:v>40724</c:v>
                </c:pt>
                <c:pt idx="87">
                  <c:v>40725</c:v>
                </c:pt>
                <c:pt idx="88">
                  <c:v>40728</c:v>
                </c:pt>
                <c:pt idx="89">
                  <c:v>40729</c:v>
                </c:pt>
                <c:pt idx="90">
                  <c:v>40730</c:v>
                </c:pt>
                <c:pt idx="91">
                  <c:v>40731</c:v>
                </c:pt>
                <c:pt idx="92">
                  <c:v>40732</c:v>
                </c:pt>
                <c:pt idx="93">
                  <c:v>40735</c:v>
                </c:pt>
                <c:pt idx="94">
                  <c:v>40736</c:v>
                </c:pt>
                <c:pt idx="95">
                  <c:v>40737</c:v>
                </c:pt>
                <c:pt idx="96">
                  <c:v>40738</c:v>
                </c:pt>
                <c:pt idx="97">
                  <c:v>40739</c:v>
                </c:pt>
                <c:pt idx="98">
                  <c:v>40742</c:v>
                </c:pt>
                <c:pt idx="99">
                  <c:v>40743</c:v>
                </c:pt>
                <c:pt idx="100">
                  <c:v>40744</c:v>
                </c:pt>
                <c:pt idx="101">
                  <c:v>40745</c:v>
                </c:pt>
                <c:pt idx="102">
                  <c:v>40746</c:v>
                </c:pt>
                <c:pt idx="103">
                  <c:v>40749</c:v>
                </c:pt>
                <c:pt idx="104">
                  <c:v>40750</c:v>
                </c:pt>
                <c:pt idx="105">
                  <c:v>40751</c:v>
                </c:pt>
                <c:pt idx="106">
                  <c:v>40752</c:v>
                </c:pt>
                <c:pt idx="107">
                  <c:v>40753</c:v>
                </c:pt>
                <c:pt idx="108">
                  <c:v>40756</c:v>
                </c:pt>
                <c:pt idx="109">
                  <c:v>40757</c:v>
                </c:pt>
                <c:pt idx="110">
                  <c:v>40758</c:v>
                </c:pt>
                <c:pt idx="111">
                  <c:v>40759</c:v>
                </c:pt>
                <c:pt idx="112">
                  <c:v>40760</c:v>
                </c:pt>
                <c:pt idx="113">
                  <c:v>40763</c:v>
                </c:pt>
                <c:pt idx="114">
                  <c:v>40764</c:v>
                </c:pt>
                <c:pt idx="115">
                  <c:v>40765</c:v>
                </c:pt>
                <c:pt idx="116">
                  <c:v>40766</c:v>
                </c:pt>
                <c:pt idx="117">
                  <c:v>40767</c:v>
                </c:pt>
                <c:pt idx="118">
                  <c:v>40770</c:v>
                </c:pt>
                <c:pt idx="119">
                  <c:v>40771</c:v>
                </c:pt>
                <c:pt idx="120">
                  <c:v>40772</c:v>
                </c:pt>
                <c:pt idx="121">
                  <c:v>40773</c:v>
                </c:pt>
                <c:pt idx="122">
                  <c:v>40774</c:v>
                </c:pt>
                <c:pt idx="123">
                  <c:v>40777</c:v>
                </c:pt>
                <c:pt idx="124">
                  <c:v>40778</c:v>
                </c:pt>
                <c:pt idx="125">
                  <c:v>40779</c:v>
                </c:pt>
                <c:pt idx="126">
                  <c:v>40780</c:v>
                </c:pt>
                <c:pt idx="127">
                  <c:v>40781</c:v>
                </c:pt>
                <c:pt idx="128">
                  <c:v>40784</c:v>
                </c:pt>
                <c:pt idx="129">
                  <c:v>40785</c:v>
                </c:pt>
                <c:pt idx="130">
                  <c:v>40786</c:v>
                </c:pt>
                <c:pt idx="131">
                  <c:v>40787</c:v>
                </c:pt>
                <c:pt idx="132">
                  <c:v>40788</c:v>
                </c:pt>
                <c:pt idx="133">
                  <c:v>40791</c:v>
                </c:pt>
                <c:pt idx="134">
                  <c:v>40792</c:v>
                </c:pt>
                <c:pt idx="135">
                  <c:v>40793</c:v>
                </c:pt>
                <c:pt idx="136">
                  <c:v>40794</c:v>
                </c:pt>
                <c:pt idx="137">
                  <c:v>40795</c:v>
                </c:pt>
                <c:pt idx="138">
                  <c:v>40798</c:v>
                </c:pt>
                <c:pt idx="139">
                  <c:v>40799</c:v>
                </c:pt>
                <c:pt idx="140">
                  <c:v>40800</c:v>
                </c:pt>
                <c:pt idx="141">
                  <c:v>40801</c:v>
                </c:pt>
                <c:pt idx="142">
                  <c:v>40802</c:v>
                </c:pt>
                <c:pt idx="143">
                  <c:v>40805</c:v>
                </c:pt>
                <c:pt idx="144">
                  <c:v>40806</c:v>
                </c:pt>
                <c:pt idx="145">
                  <c:v>40807</c:v>
                </c:pt>
                <c:pt idx="146">
                  <c:v>40808</c:v>
                </c:pt>
                <c:pt idx="147">
                  <c:v>40809</c:v>
                </c:pt>
                <c:pt idx="148">
                  <c:v>40812</c:v>
                </c:pt>
                <c:pt idx="149">
                  <c:v>40813</c:v>
                </c:pt>
                <c:pt idx="150">
                  <c:v>40814</c:v>
                </c:pt>
                <c:pt idx="151">
                  <c:v>40815</c:v>
                </c:pt>
                <c:pt idx="152">
                  <c:v>40816</c:v>
                </c:pt>
                <c:pt idx="153">
                  <c:v>40819</c:v>
                </c:pt>
                <c:pt idx="154">
                  <c:v>40820</c:v>
                </c:pt>
                <c:pt idx="155">
                  <c:v>40821</c:v>
                </c:pt>
                <c:pt idx="156">
                  <c:v>40822</c:v>
                </c:pt>
                <c:pt idx="157">
                  <c:v>40823</c:v>
                </c:pt>
                <c:pt idx="158">
                  <c:v>40826</c:v>
                </c:pt>
                <c:pt idx="159">
                  <c:v>40827</c:v>
                </c:pt>
                <c:pt idx="160">
                  <c:v>40828</c:v>
                </c:pt>
                <c:pt idx="161">
                  <c:v>40829</c:v>
                </c:pt>
                <c:pt idx="162">
                  <c:v>40830</c:v>
                </c:pt>
                <c:pt idx="163">
                  <c:v>40833</c:v>
                </c:pt>
                <c:pt idx="164">
                  <c:v>40834</c:v>
                </c:pt>
                <c:pt idx="165">
                  <c:v>40835</c:v>
                </c:pt>
                <c:pt idx="166">
                  <c:v>40836</c:v>
                </c:pt>
                <c:pt idx="167">
                  <c:v>40837</c:v>
                </c:pt>
                <c:pt idx="168">
                  <c:v>40840</c:v>
                </c:pt>
                <c:pt idx="169">
                  <c:v>40841</c:v>
                </c:pt>
                <c:pt idx="170">
                  <c:v>40842</c:v>
                </c:pt>
                <c:pt idx="171">
                  <c:v>40843</c:v>
                </c:pt>
                <c:pt idx="172">
                  <c:v>40844</c:v>
                </c:pt>
                <c:pt idx="173">
                  <c:v>40847</c:v>
                </c:pt>
                <c:pt idx="174">
                  <c:v>40848</c:v>
                </c:pt>
                <c:pt idx="175">
                  <c:v>40849</c:v>
                </c:pt>
                <c:pt idx="176">
                  <c:v>40850</c:v>
                </c:pt>
                <c:pt idx="177">
                  <c:v>40851</c:v>
                </c:pt>
                <c:pt idx="178">
                  <c:v>40854</c:v>
                </c:pt>
                <c:pt idx="179">
                  <c:v>40855</c:v>
                </c:pt>
                <c:pt idx="180">
                  <c:v>40856</c:v>
                </c:pt>
                <c:pt idx="181">
                  <c:v>40857</c:v>
                </c:pt>
                <c:pt idx="182">
                  <c:v>40858</c:v>
                </c:pt>
                <c:pt idx="183">
                  <c:v>40861</c:v>
                </c:pt>
                <c:pt idx="184">
                  <c:v>40862</c:v>
                </c:pt>
                <c:pt idx="185">
                  <c:v>40863</c:v>
                </c:pt>
                <c:pt idx="186">
                  <c:v>40864</c:v>
                </c:pt>
                <c:pt idx="187">
                  <c:v>40865</c:v>
                </c:pt>
                <c:pt idx="188">
                  <c:v>40868</c:v>
                </c:pt>
                <c:pt idx="189">
                  <c:v>40869</c:v>
                </c:pt>
                <c:pt idx="190">
                  <c:v>40870</c:v>
                </c:pt>
                <c:pt idx="191">
                  <c:v>40871</c:v>
                </c:pt>
                <c:pt idx="192">
                  <c:v>40872</c:v>
                </c:pt>
                <c:pt idx="193">
                  <c:v>40875</c:v>
                </c:pt>
                <c:pt idx="194">
                  <c:v>40876</c:v>
                </c:pt>
                <c:pt idx="195">
                  <c:v>40877</c:v>
                </c:pt>
                <c:pt idx="196">
                  <c:v>40878</c:v>
                </c:pt>
                <c:pt idx="197">
                  <c:v>40879</c:v>
                </c:pt>
                <c:pt idx="198">
                  <c:v>40882</c:v>
                </c:pt>
                <c:pt idx="199">
                  <c:v>40883</c:v>
                </c:pt>
                <c:pt idx="200">
                  <c:v>40884</c:v>
                </c:pt>
                <c:pt idx="201">
                  <c:v>40885</c:v>
                </c:pt>
                <c:pt idx="202">
                  <c:v>40886</c:v>
                </c:pt>
                <c:pt idx="203">
                  <c:v>40889</c:v>
                </c:pt>
                <c:pt idx="204">
                  <c:v>40890</c:v>
                </c:pt>
                <c:pt idx="205">
                  <c:v>40891</c:v>
                </c:pt>
                <c:pt idx="206">
                  <c:v>40892</c:v>
                </c:pt>
                <c:pt idx="207">
                  <c:v>40893</c:v>
                </c:pt>
                <c:pt idx="208">
                  <c:v>40896</c:v>
                </c:pt>
                <c:pt idx="209">
                  <c:v>40897</c:v>
                </c:pt>
                <c:pt idx="210">
                  <c:v>40898</c:v>
                </c:pt>
                <c:pt idx="211">
                  <c:v>40899</c:v>
                </c:pt>
                <c:pt idx="212">
                  <c:v>40900</c:v>
                </c:pt>
                <c:pt idx="213">
                  <c:v>40904</c:v>
                </c:pt>
                <c:pt idx="214">
                  <c:v>40905</c:v>
                </c:pt>
                <c:pt idx="215">
                  <c:v>40906</c:v>
                </c:pt>
                <c:pt idx="216">
                  <c:v>40907</c:v>
                </c:pt>
                <c:pt idx="217">
                  <c:v>40910</c:v>
                </c:pt>
                <c:pt idx="218">
                  <c:v>40911</c:v>
                </c:pt>
                <c:pt idx="219">
                  <c:v>40912</c:v>
                </c:pt>
                <c:pt idx="220">
                  <c:v>40913</c:v>
                </c:pt>
                <c:pt idx="221">
                  <c:v>40914</c:v>
                </c:pt>
                <c:pt idx="222">
                  <c:v>40917</c:v>
                </c:pt>
                <c:pt idx="223">
                  <c:v>40918</c:v>
                </c:pt>
                <c:pt idx="224">
                  <c:v>40919</c:v>
                </c:pt>
                <c:pt idx="225">
                  <c:v>40920</c:v>
                </c:pt>
                <c:pt idx="226">
                  <c:v>40921</c:v>
                </c:pt>
                <c:pt idx="227">
                  <c:v>40924</c:v>
                </c:pt>
                <c:pt idx="228">
                  <c:v>40925</c:v>
                </c:pt>
                <c:pt idx="229">
                  <c:v>40926</c:v>
                </c:pt>
                <c:pt idx="230">
                  <c:v>40927</c:v>
                </c:pt>
                <c:pt idx="231">
                  <c:v>40928</c:v>
                </c:pt>
                <c:pt idx="232">
                  <c:v>40931</c:v>
                </c:pt>
                <c:pt idx="233">
                  <c:v>40932</c:v>
                </c:pt>
                <c:pt idx="234">
                  <c:v>40933</c:v>
                </c:pt>
                <c:pt idx="235">
                  <c:v>40934</c:v>
                </c:pt>
                <c:pt idx="236">
                  <c:v>40935</c:v>
                </c:pt>
                <c:pt idx="237">
                  <c:v>40938</c:v>
                </c:pt>
                <c:pt idx="238">
                  <c:v>40939</c:v>
                </c:pt>
                <c:pt idx="239">
                  <c:v>40940</c:v>
                </c:pt>
                <c:pt idx="240">
                  <c:v>40941</c:v>
                </c:pt>
                <c:pt idx="241">
                  <c:v>40942</c:v>
                </c:pt>
                <c:pt idx="242">
                  <c:v>40945</c:v>
                </c:pt>
                <c:pt idx="243">
                  <c:v>40946</c:v>
                </c:pt>
                <c:pt idx="244">
                  <c:v>40947</c:v>
                </c:pt>
                <c:pt idx="245">
                  <c:v>40948</c:v>
                </c:pt>
                <c:pt idx="246">
                  <c:v>40949</c:v>
                </c:pt>
                <c:pt idx="247">
                  <c:v>40952</c:v>
                </c:pt>
                <c:pt idx="248">
                  <c:v>40953</c:v>
                </c:pt>
                <c:pt idx="249">
                  <c:v>40954</c:v>
                </c:pt>
                <c:pt idx="250">
                  <c:v>40955</c:v>
                </c:pt>
                <c:pt idx="251">
                  <c:v>40956</c:v>
                </c:pt>
                <c:pt idx="252">
                  <c:v>40959</c:v>
                </c:pt>
                <c:pt idx="253">
                  <c:v>40960</c:v>
                </c:pt>
                <c:pt idx="254">
                  <c:v>40961</c:v>
                </c:pt>
                <c:pt idx="255">
                  <c:v>40962</c:v>
                </c:pt>
                <c:pt idx="256">
                  <c:v>40963</c:v>
                </c:pt>
                <c:pt idx="257">
                  <c:v>40966</c:v>
                </c:pt>
                <c:pt idx="258">
                  <c:v>40967</c:v>
                </c:pt>
                <c:pt idx="259">
                  <c:v>40968</c:v>
                </c:pt>
                <c:pt idx="260">
                  <c:v>40969</c:v>
                </c:pt>
                <c:pt idx="261">
                  <c:v>40970</c:v>
                </c:pt>
                <c:pt idx="262">
                  <c:v>40973</c:v>
                </c:pt>
                <c:pt idx="263">
                  <c:v>40974</c:v>
                </c:pt>
                <c:pt idx="264">
                  <c:v>40975</c:v>
                </c:pt>
                <c:pt idx="265">
                  <c:v>40976</c:v>
                </c:pt>
                <c:pt idx="266">
                  <c:v>40977</c:v>
                </c:pt>
                <c:pt idx="267">
                  <c:v>40980</c:v>
                </c:pt>
                <c:pt idx="268">
                  <c:v>40981</c:v>
                </c:pt>
                <c:pt idx="269">
                  <c:v>40982</c:v>
                </c:pt>
                <c:pt idx="270">
                  <c:v>40983</c:v>
                </c:pt>
                <c:pt idx="271">
                  <c:v>40984</c:v>
                </c:pt>
                <c:pt idx="272">
                  <c:v>40987</c:v>
                </c:pt>
                <c:pt idx="273">
                  <c:v>40988</c:v>
                </c:pt>
                <c:pt idx="274">
                  <c:v>40989</c:v>
                </c:pt>
                <c:pt idx="275">
                  <c:v>40990</c:v>
                </c:pt>
                <c:pt idx="276">
                  <c:v>40991</c:v>
                </c:pt>
                <c:pt idx="277">
                  <c:v>40994</c:v>
                </c:pt>
                <c:pt idx="278">
                  <c:v>40995</c:v>
                </c:pt>
                <c:pt idx="279">
                  <c:v>40996</c:v>
                </c:pt>
                <c:pt idx="280">
                  <c:v>40997</c:v>
                </c:pt>
                <c:pt idx="281">
                  <c:v>40998</c:v>
                </c:pt>
                <c:pt idx="282">
                  <c:v>41001</c:v>
                </c:pt>
                <c:pt idx="283">
                  <c:v>41002</c:v>
                </c:pt>
                <c:pt idx="284">
                  <c:v>41003</c:v>
                </c:pt>
                <c:pt idx="285">
                  <c:v>41004</c:v>
                </c:pt>
                <c:pt idx="286">
                  <c:v>41009</c:v>
                </c:pt>
                <c:pt idx="287">
                  <c:v>41010</c:v>
                </c:pt>
                <c:pt idx="288">
                  <c:v>41011</c:v>
                </c:pt>
                <c:pt idx="289">
                  <c:v>41012</c:v>
                </c:pt>
                <c:pt idx="290">
                  <c:v>41015</c:v>
                </c:pt>
                <c:pt idx="291">
                  <c:v>41016</c:v>
                </c:pt>
                <c:pt idx="292">
                  <c:v>41017</c:v>
                </c:pt>
                <c:pt idx="293">
                  <c:v>41018</c:v>
                </c:pt>
                <c:pt idx="294">
                  <c:v>41019</c:v>
                </c:pt>
                <c:pt idx="295">
                  <c:v>41022</c:v>
                </c:pt>
                <c:pt idx="296">
                  <c:v>41023</c:v>
                </c:pt>
                <c:pt idx="297">
                  <c:v>41024</c:v>
                </c:pt>
                <c:pt idx="298">
                  <c:v>41025</c:v>
                </c:pt>
                <c:pt idx="299">
                  <c:v>41026</c:v>
                </c:pt>
                <c:pt idx="300">
                  <c:v>41029</c:v>
                </c:pt>
                <c:pt idx="301">
                  <c:v>41030</c:v>
                </c:pt>
                <c:pt idx="302">
                  <c:v>41031</c:v>
                </c:pt>
                <c:pt idx="303">
                  <c:v>41032</c:v>
                </c:pt>
                <c:pt idx="304">
                  <c:v>41033</c:v>
                </c:pt>
                <c:pt idx="305">
                  <c:v>41036</c:v>
                </c:pt>
                <c:pt idx="306">
                  <c:v>41037</c:v>
                </c:pt>
                <c:pt idx="307">
                  <c:v>41038</c:v>
                </c:pt>
                <c:pt idx="308">
                  <c:v>41039</c:v>
                </c:pt>
                <c:pt idx="309">
                  <c:v>41040</c:v>
                </c:pt>
                <c:pt idx="310">
                  <c:v>41043</c:v>
                </c:pt>
                <c:pt idx="311">
                  <c:v>41044</c:v>
                </c:pt>
                <c:pt idx="312">
                  <c:v>41045</c:v>
                </c:pt>
                <c:pt idx="313">
                  <c:v>41046</c:v>
                </c:pt>
                <c:pt idx="314">
                  <c:v>41047</c:v>
                </c:pt>
                <c:pt idx="315">
                  <c:v>41050</c:v>
                </c:pt>
                <c:pt idx="316">
                  <c:v>41051</c:v>
                </c:pt>
                <c:pt idx="317">
                  <c:v>41052</c:v>
                </c:pt>
                <c:pt idx="318">
                  <c:v>41053</c:v>
                </c:pt>
                <c:pt idx="319">
                  <c:v>41054</c:v>
                </c:pt>
                <c:pt idx="320">
                  <c:v>41057</c:v>
                </c:pt>
                <c:pt idx="321">
                  <c:v>41058</c:v>
                </c:pt>
                <c:pt idx="322">
                  <c:v>41059</c:v>
                </c:pt>
                <c:pt idx="323">
                  <c:v>41060</c:v>
                </c:pt>
                <c:pt idx="324">
                  <c:v>41061</c:v>
                </c:pt>
                <c:pt idx="325">
                  <c:v>41064</c:v>
                </c:pt>
                <c:pt idx="326">
                  <c:v>41065</c:v>
                </c:pt>
                <c:pt idx="327">
                  <c:v>41066</c:v>
                </c:pt>
                <c:pt idx="328">
                  <c:v>41067</c:v>
                </c:pt>
                <c:pt idx="329">
                  <c:v>41068</c:v>
                </c:pt>
                <c:pt idx="330">
                  <c:v>41071</c:v>
                </c:pt>
                <c:pt idx="331">
                  <c:v>41072</c:v>
                </c:pt>
                <c:pt idx="332">
                  <c:v>41073</c:v>
                </c:pt>
                <c:pt idx="333">
                  <c:v>41074</c:v>
                </c:pt>
                <c:pt idx="334">
                  <c:v>41075</c:v>
                </c:pt>
                <c:pt idx="335">
                  <c:v>41078</c:v>
                </c:pt>
                <c:pt idx="336">
                  <c:v>41079</c:v>
                </c:pt>
                <c:pt idx="337">
                  <c:v>41080</c:v>
                </c:pt>
                <c:pt idx="338">
                  <c:v>41081</c:v>
                </c:pt>
                <c:pt idx="339">
                  <c:v>41082</c:v>
                </c:pt>
                <c:pt idx="340">
                  <c:v>41085</c:v>
                </c:pt>
                <c:pt idx="341">
                  <c:v>41086</c:v>
                </c:pt>
                <c:pt idx="342">
                  <c:v>41087</c:v>
                </c:pt>
                <c:pt idx="343">
                  <c:v>41088</c:v>
                </c:pt>
                <c:pt idx="344">
                  <c:v>41089</c:v>
                </c:pt>
                <c:pt idx="345">
                  <c:v>41092</c:v>
                </c:pt>
                <c:pt idx="346">
                  <c:v>41093</c:v>
                </c:pt>
                <c:pt idx="347">
                  <c:v>41094</c:v>
                </c:pt>
                <c:pt idx="348">
                  <c:v>41095</c:v>
                </c:pt>
                <c:pt idx="349">
                  <c:v>41096</c:v>
                </c:pt>
                <c:pt idx="350">
                  <c:v>41099</c:v>
                </c:pt>
                <c:pt idx="351">
                  <c:v>41100</c:v>
                </c:pt>
                <c:pt idx="352">
                  <c:v>41101</c:v>
                </c:pt>
                <c:pt idx="353">
                  <c:v>41102</c:v>
                </c:pt>
                <c:pt idx="354">
                  <c:v>41103</c:v>
                </c:pt>
                <c:pt idx="355">
                  <c:v>41106</c:v>
                </c:pt>
                <c:pt idx="356">
                  <c:v>41107</c:v>
                </c:pt>
                <c:pt idx="357">
                  <c:v>41108</c:v>
                </c:pt>
                <c:pt idx="358">
                  <c:v>41109</c:v>
                </c:pt>
                <c:pt idx="359">
                  <c:v>41110</c:v>
                </c:pt>
                <c:pt idx="360">
                  <c:v>41113</c:v>
                </c:pt>
                <c:pt idx="361">
                  <c:v>41114</c:v>
                </c:pt>
                <c:pt idx="362">
                  <c:v>41115</c:v>
                </c:pt>
                <c:pt idx="363">
                  <c:v>41116</c:v>
                </c:pt>
                <c:pt idx="364">
                  <c:v>41117</c:v>
                </c:pt>
                <c:pt idx="365">
                  <c:v>41120</c:v>
                </c:pt>
                <c:pt idx="366">
                  <c:v>41121</c:v>
                </c:pt>
                <c:pt idx="367">
                  <c:v>41122</c:v>
                </c:pt>
                <c:pt idx="368">
                  <c:v>41123</c:v>
                </c:pt>
                <c:pt idx="369">
                  <c:v>41124</c:v>
                </c:pt>
                <c:pt idx="370">
                  <c:v>41127</c:v>
                </c:pt>
                <c:pt idx="371">
                  <c:v>41128</c:v>
                </c:pt>
                <c:pt idx="372">
                  <c:v>41129</c:v>
                </c:pt>
                <c:pt idx="373">
                  <c:v>41130</c:v>
                </c:pt>
                <c:pt idx="374">
                  <c:v>41131</c:v>
                </c:pt>
                <c:pt idx="375">
                  <c:v>41134</c:v>
                </c:pt>
                <c:pt idx="376">
                  <c:v>41135</c:v>
                </c:pt>
                <c:pt idx="377">
                  <c:v>41136</c:v>
                </c:pt>
                <c:pt idx="378">
                  <c:v>41137</c:v>
                </c:pt>
                <c:pt idx="379">
                  <c:v>41138</c:v>
                </c:pt>
                <c:pt idx="380">
                  <c:v>41141</c:v>
                </c:pt>
                <c:pt idx="381">
                  <c:v>41142</c:v>
                </c:pt>
                <c:pt idx="382">
                  <c:v>41143</c:v>
                </c:pt>
                <c:pt idx="383">
                  <c:v>41144</c:v>
                </c:pt>
                <c:pt idx="384">
                  <c:v>41145</c:v>
                </c:pt>
                <c:pt idx="385">
                  <c:v>41148</c:v>
                </c:pt>
                <c:pt idx="386">
                  <c:v>41149</c:v>
                </c:pt>
                <c:pt idx="387">
                  <c:v>41150</c:v>
                </c:pt>
                <c:pt idx="388">
                  <c:v>41151</c:v>
                </c:pt>
                <c:pt idx="389">
                  <c:v>41152</c:v>
                </c:pt>
                <c:pt idx="390">
                  <c:v>41155</c:v>
                </c:pt>
                <c:pt idx="391">
                  <c:v>41156</c:v>
                </c:pt>
                <c:pt idx="392">
                  <c:v>41157</c:v>
                </c:pt>
                <c:pt idx="393">
                  <c:v>41158</c:v>
                </c:pt>
                <c:pt idx="394">
                  <c:v>41159</c:v>
                </c:pt>
                <c:pt idx="395">
                  <c:v>41162</c:v>
                </c:pt>
                <c:pt idx="396">
                  <c:v>41163</c:v>
                </c:pt>
                <c:pt idx="397">
                  <c:v>41164</c:v>
                </c:pt>
                <c:pt idx="398">
                  <c:v>41165</c:v>
                </c:pt>
                <c:pt idx="399">
                  <c:v>41166</c:v>
                </c:pt>
                <c:pt idx="400">
                  <c:v>41169</c:v>
                </c:pt>
                <c:pt idx="401">
                  <c:v>41170</c:v>
                </c:pt>
                <c:pt idx="402">
                  <c:v>41171</c:v>
                </c:pt>
                <c:pt idx="403">
                  <c:v>41172</c:v>
                </c:pt>
                <c:pt idx="404">
                  <c:v>41173</c:v>
                </c:pt>
                <c:pt idx="405">
                  <c:v>41176</c:v>
                </c:pt>
                <c:pt idx="406">
                  <c:v>41177</c:v>
                </c:pt>
                <c:pt idx="407">
                  <c:v>41178</c:v>
                </c:pt>
                <c:pt idx="408">
                  <c:v>41179</c:v>
                </c:pt>
                <c:pt idx="409">
                  <c:v>41180</c:v>
                </c:pt>
                <c:pt idx="410">
                  <c:v>41183</c:v>
                </c:pt>
                <c:pt idx="411">
                  <c:v>41184</c:v>
                </c:pt>
                <c:pt idx="412">
                  <c:v>41185</c:v>
                </c:pt>
                <c:pt idx="413">
                  <c:v>41186</c:v>
                </c:pt>
                <c:pt idx="414">
                  <c:v>41187</c:v>
                </c:pt>
                <c:pt idx="415">
                  <c:v>41190</c:v>
                </c:pt>
                <c:pt idx="416">
                  <c:v>41191</c:v>
                </c:pt>
                <c:pt idx="417">
                  <c:v>41192</c:v>
                </c:pt>
                <c:pt idx="418">
                  <c:v>41193</c:v>
                </c:pt>
                <c:pt idx="419">
                  <c:v>41194</c:v>
                </c:pt>
                <c:pt idx="420">
                  <c:v>41197</c:v>
                </c:pt>
                <c:pt idx="421">
                  <c:v>41198</c:v>
                </c:pt>
                <c:pt idx="422">
                  <c:v>41199</c:v>
                </c:pt>
                <c:pt idx="423">
                  <c:v>41200</c:v>
                </c:pt>
                <c:pt idx="424">
                  <c:v>41201</c:v>
                </c:pt>
                <c:pt idx="425">
                  <c:v>41204</c:v>
                </c:pt>
                <c:pt idx="426">
                  <c:v>41205</c:v>
                </c:pt>
                <c:pt idx="427">
                  <c:v>41206</c:v>
                </c:pt>
                <c:pt idx="428">
                  <c:v>41207</c:v>
                </c:pt>
                <c:pt idx="429">
                  <c:v>41208</c:v>
                </c:pt>
                <c:pt idx="430">
                  <c:v>41211</c:v>
                </c:pt>
                <c:pt idx="431">
                  <c:v>41212</c:v>
                </c:pt>
                <c:pt idx="432">
                  <c:v>41213</c:v>
                </c:pt>
                <c:pt idx="433">
                  <c:v>41214</c:v>
                </c:pt>
                <c:pt idx="434">
                  <c:v>41215</c:v>
                </c:pt>
                <c:pt idx="435">
                  <c:v>41218</c:v>
                </c:pt>
                <c:pt idx="436">
                  <c:v>41219</c:v>
                </c:pt>
                <c:pt idx="437">
                  <c:v>41220</c:v>
                </c:pt>
                <c:pt idx="438">
                  <c:v>41221</c:v>
                </c:pt>
                <c:pt idx="439">
                  <c:v>41222</c:v>
                </c:pt>
                <c:pt idx="440">
                  <c:v>41225</c:v>
                </c:pt>
                <c:pt idx="441">
                  <c:v>41226</c:v>
                </c:pt>
                <c:pt idx="442">
                  <c:v>41227</c:v>
                </c:pt>
                <c:pt idx="443">
                  <c:v>41228</c:v>
                </c:pt>
                <c:pt idx="444">
                  <c:v>41229</c:v>
                </c:pt>
                <c:pt idx="445">
                  <c:v>41232</c:v>
                </c:pt>
                <c:pt idx="446">
                  <c:v>41233</c:v>
                </c:pt>
                <c:pt idx="447">
                  <c:v>41234</c:v>
                </c:pt>
                <c:pt idx="448">
                  <c:v>41235</c:v>
                </c:pt>
                <c:pt idx="449">
                  <c:v>41236</c:v>
                </c:pt>
                <c:pt idx="450">
                  <c:v>41239</c:v>
                </c:pt>
                <c:pt idx="451">
                  <c:v>41240</c:v>
                </c:pt>
                <c:pt idx="452">
                  <c:v>41241</c:v>
                </c:pt>
                <c:pt idx="453">
                  <c:v>41242</c:v>
                </c:pt>
                <c:pt idx="454">
                  <c:v>41243</c:v>
                </c:pt>
                <c:pt idx="455">
                  <c:v>41246</c:v>
                </c:pt>
                <c:pt idx="456">
                  <c:v>41247</c:v>
                </c:pt>
                <c:pt idx="457">
                  <c:v>41248</c:v>
                </c:pt>
                <c:pt idx="458">
                  <c:v>41249</c:v>
                </c:pt>
                <c:pt idx="459">
                  <c:v>41250</c:v>
                </c:pt>
                <c:pt idx="460">
                  <c:v>41253</c:v>
                </c:pt>
                <c:pt idx="461">
                  <c:v>41254</c:v>
                </c:pt>
                <c:pt idx="462">
                  <c:v>41255</c:v>
                </c:pt>
                <c:pt idx="463">
                  <c:v>41256</c:v>
                </c:pt>
                <c:pt idx="464">
                  <c:v>41257</c:v>
                </c:pt>
                <c:pt idx="465">
                  <c:v>41260</c:v>
                </c:pt>
                <c:pt idx="466">
                  <c:v>41261</c:v>
                </c:pt>
                <c:pt idx="467">
                  <c:v>41262</c:v>
                </c:pt>
                <c:pt idx="468">
                  <c:v>41263</c:v>
                </c:pt>
                <c:pt idx="469">
                  <c:v>41264</c:v>
                </c:pt>
                <c:pt idx="470">
                  <c:v>41267</c:v>
                </c:pt>
                <c:pt idx="471">
                  <c:v>41270</c:v>
                </c:pt>
                <c:pt idx="472">
                  <c:v>41271</c:v>
                </c:pt>
                <c:pt idx="473">
                  <c:v>41274</c:v>
                </c:pt>
                <c:pt idx="474">
                  <c:v>41276</c:v>
                </c:pt>
                <c:pt idx="475">
                  <c:v>41277</c:v>
                </c:pt>
                <c:pt idx="476">
                  <c:v>41278</c:v>
                </c:pt>
                <c:pt idx="477">
                  <c:v>41281</c:v>
                </c:pt>
                <c:pt idx="478">
                  <c:v>41282</c:v>
                </c:pt>
                <c:pt idx="479">
                  <c:v>41283</c:v>
                </c:pt>
                <c:pt idx="480">
                  <c:v>41284</c:v>
                </c:pt>
                <c:pt idx="481">
                  <c:v>41285</c:v>
                </c:pt>
                <c:pt idx="482">
                  <c:v>41288</c:v>
                </c:pt>
                <c:pt idx="483">
                  <c:v>41289</c:v>
                </c:pt>
                <c:pt idx="484">
                  <c:v>41290</c:v>
                </c:pt>
                <c:pt idx="485">
                  <c:v>41291</c:v>
                </c:pt>
                <c:pt idx="486">
                  <c:v>41292</c:v>
                </c:pt>
                <c:pt idx="487">
                  <c:v>41295</c:v>
                </c:pt>
                <c:pt idx="488">
                  <c:v>41296</c:v>
                </c:pt>
                <c:pt idx="489">
                  <c:v>41297</c:v>
                </c:pt>
                <c:pt idx="490">
                  <c:v>41298</c:v>
                </c:pt>
                <c:pt idx="491">
                  <c:v>41299</c:v>
                </c:pt>
                <c:pt idx="492">
                  <c:v>41302</c:v>
                </c:pt>
                <c:pt idx="493">
                  <c:v>41303</c:v>
                </c:pt>
                <c:pt idx="494">
                  <c:v>41304</c:v>
                </c:pt>
                <c:pt idx="495">
                  <c:v>41305</c:v>
                </c:pt>
                <c:pt idx="496">
                  <c:v>41306</c:v>
                </c:pt>
                <c:pt idx="497">
                  <c:v>41309</c:v>
                </c:pt>
                <c:pt idx="498">
                  <c:v>41310</c:v>
                </c:pt>
                <c:pt idx="499">
                  <c:v>41311</c:v>
                </c:pt>
                <c:pt idx="500">
                  <c:v>41312</c:v>
                </c:pt>
                <c:pt idx="501">
                  <c:v>41313</c:v>
                </c:pt>
                <c:pt idx="502">
                  <c:v>41316</c:v>
                </c:pt>
                <c:pt idx="503">
                  <c:v>41317</c:v>
                </c:pt>
                <c:pt idx="504">
                  <c:v>41318</c:v>
                </c:pt>
                <c:pt idx="505">
                  <c:v>41319</c:v>
                </c:pt>
                <c:pt idx="506">
                  <c:v>41320</c:v>
                </c:pt>
                <c:pt idx="507">
                  <c:v>41323</c:v>
                </c:pt>
                <c:pt idx="508">
                  <c:v>41324</c:v>
                </c:pt>
                <c:pt idx="509">
                  <c:v>41325</c:v>
                </c:pt>
                <c:pt idx="510">
                  <c:v>41326</c:v>
                </c:pt>
                <c:pt idx="511">
                  <c:v>41327</c:v>
                </c:pt>
                <c:pt idx="512">
                  <c:v>41330</c:v>
                </c:pt>
                <c:pt idx="513">
                  <c:v>41331</c:v>
                </c:pt>
                <c:pt idx="514">
                  <c:v>41332</c:v>
                </c:pt>
                <c:pt idx="515">
                  <c:v>41333</c:v>
                </c:pt>
                <c:pt idx="516">
                  <c:v>41334</c:v>
                </c:pt>
                <c:pt idx="517">
                  <c:v>41337</c:v>
                </c:pt>
                <c:pt idx="518">
                  <c:v>41338</c:v>
                </c:pt>
                <c:pt idx="519">
                  <c:v>41339</c:v>
                </c:pt>
                <c:pt idx="520">
                  <c:v>41340</c:v>
                </c:pt>
                <c:pt idx="521">
                  <c:v>41341</c:v>
                </c:pt>
                <c:pt idx="522">
                  <c:v>41344</c:v>
                </c:pt>
                <c:pt idx="523">
                  <c:v>41345</c:v>
                </c:pt>
                <c:pt idx="524">
                  <c:v>41346</c:v>
                </c:pt>
                <c:pt idx="525">
                  <c:v>41347</c:v>
                </c:pt>
                <c:pt idx="526">
                  <c:v>41348</c:v>
                </c:pt>
                <c:pt idx="527">
                  <c:v>41351</c:v>
                </c:pt>
                <c:pt idx="528">
                  <c:v>41352</c:v>
                </c:pt>
                <c:pt idx="529">
                  <c:v>41353</c:v>
                </c:pt>
                <c:pt idx="530">
                  <c:v>41354</c:v>
                </c:pt>
                <c:pt idx="531">
                  <c:v>41355</c:v>
                </c:pt>
                <c:pt idx="532">
                  <c:v>41358</c:v>
                </c:pt>
                <c:pt idx="533">
                  <c:v>41359</c:v>
                </c:pt>
                <c:pt idx="534">
                  <c:v>41360</c:v>
                </c:pt>
                <c:pt idx="535">
                  <c:v>41361</c:v>
                </c:pt>
                <c:pt idx="536">
                  <c:v>41366</c:v>
                </c:pt>
                <c:pt idx="537">
                  <c:v>41367</c:v>
                </c:pt>
                <c:pt idx="538">
                  <c:v>41368</c:v>
                </c:pt>
                <c:pt idx="539">
                  <c:v>41369</c:v>
                </c:pt>
                <c:pt idx="540">
                  <c:v>41372</c:v>
                </c:pt>
                <c:pt idx="541">
                  <c:v>41373</c:v>
                </c:pt>
                <c:pt idx="542">
                  <c:v>41374</c:v>
                </c:pt>
                <c:pt idx="543">
                  <c:v>41375</c:v>
                </c:pt>
                <c:pt idx="544">
                  <c:v>41376</c:v>
                </c:pt>
                <c:pt idx="545">
                  <c:v>41379</c:v>
                </c:pt>
                <c:pt idx="546">
                  <c:v>41380</c:v>
                </c:pt>
                <c:pt idx="547">
                  <c:v>41381</c:v>
                </c:pt>
                <c:pt idx="548">
                  <c:v>41382</c:v>
                </c:pt>
                <c:pt idx="549">
                  <c:v>41383</c:v>
                </c:pt>
                <c:pt idx="550">
                  <c:v>41386</c:v>
                </c:pt>
                <c:pt idx="551">
                  <c:v>41387</c:v>
                </c:pt>
                <c:pt idx="552">
                  <c:v>41388</c:v>
                </c:pt>
                <c:pt idx="553">
                  <c:v>41389</c:v>
                </c:pt>
                <c:pt idx="554">
                  <c:v>41390</c:v>
                </c:pt>
                <c:pt idx="555">
                  <c:v>41393</c:v>
                </c:pt>
                <c:pt idx="556">
                  <c:v>41394</c:v>
                </c:pt>
                <c:pt idx="557">
                  <c:v>41395</c:v>
                </c:pt>
                <c:pt idx="558">
                  <c:v>41396</c:v>
                </c:pt>
                <c:pt idx="559">
                  <c:v>41397</c:v>
                </c:pt>
                <c:pt idx="560">
                  <c:v>41400</c:v>
                </c:pt>
                <c:pt idx="561">
                  <c:v>41401</c:v>
                </c:pt>
                <c:pt idx="562">
                  <c:v>41402</c:v>
                </c:pt>
                <c:pt idx="563">
                  <c:v>41403</c:v>
                </c:pt>
                <c:pt idx="564">
                  <c:v>41404</c:v>
                </c:pt>
                <c:pt idx="565">
                  <c:v>41407</c:v>
                </c:pt>
                <c:pt idx="566">
                  <c:v>41408</c:v>
                </c:pt>
                <c:pt idx="567">
                  <c:v>41409</c:v>
                </c:pt>
                <c:pt idx="568">
                  <c:v>41410</c:v>
                </c:pt>
                <c:pt idx="569">
                  <c:v>41411</c:v>
                </c:pt>
                <c:pt idx="570">
                  <c:v>41414</c:v>
                </c:pt>
                <c:pt idx="571">
                  <c:v>41415</c:v>
                </c:pt>
                <c:pt idx="572">
                  <c:v>41416</c:v>
                </c:pt>
                <c:pt idx="573">
                  <c:v>41417</c:v>
                </c:pt>
                <c:pt idx="574">
                  <c:v>41418</c:v>
                </c:pt>
                <c:pt idx="575">
                  <c:v>41421</c:v>
                </c:pt>
                <c:pt idx="576">
                  <c:v>41422</c:v>
                </c:pt>
                <c:pt idx="577">
                  <c:v>41423</c:v>
                </c:pt>
                <c:pt idx="578">
                  <c:v>41424</c:v>
                </c:pt>
                <c:pt idx="579">
                  <c:v>41425</c:v>
                </c:pt>
                <c:pt idx="580">
                  <c:v>41428</c:v>
                </c:pt>
                <c:pt idx="581">
                  <c:v>41429</c:v>
                </c:pt>
                <c:pt idx="582">
                  <c:v>41430</c:v>
                </c:pt>
                <c:pt idx="583">
                  <c:v>41431</c:v>
                </c:pt>
                <c:pt idx="584">
                  <c:v>41432</c:v>
                </c:pt>
                <c:pt idx="585">
                  <c:v>41435</c:v>
                </c:pt>
                <c:pt idx="586">
                  <c:v>41436</c:v>
                </c:pt>
                <c:pt idx="587">
                  <c:v>41437</c:v>
                </c:pt>
                <c:pt idx="588">
                  <c:v>41438</c:v>
                </c:pt>
                <c:pt idx="589">
                  <c:v>41439</c:v>
                </c:pt>
                <c:pt idx="590">
                  <c:v>41442</c:v>
                </c:pt>
                <c:pt idx="591">
                  <c:v>41443</c:v>
                </c:pt>
                <c:pt idx="592">
                  <c:v>41444</c:v>
                </c:pt>
                <c:pt idx="593">
                  <c:v>41445</c:v>
                </c:pt>
                <c:pt idx="594">
                  <c:v>41446</c:v>
                </c:pt>
                <c:pt idx="595">
                  <c:v>41449</c:v>
                </c:pt>
                <c:pt idx="596">
                  <c:v>41450</c:v>
                </c:pt>
                <c:pt idx="597">
                  <c:v>41451</c:v>
                </c:pt>
                <c:pt idx="598">
                  <c:v>41452</c:v>
                </c:pt>
                <c:pt idx="599">
                  <c:v>41453</c:v>
                </c:pt>
                <c:pt idx="600">
                  <c:v>41456</c:v>
                </c:pt>
                <c:pt idx="601">
                  <c:v>41457</c:v>
                </c:pt>
                <c:pt idx="602">
                  <c:v>41458</c:v>
                </c:pt>
                <c:pt idx="603">
                  <c:v>41459</c:v>
                </c:pt>
                <c:pt idx="604">
                  <c:v>41460</c:v>
                </c:pt>
                <c:pt idx="605">
                  <c:v>41463</c:v>
                </c:pt>
                <c:pt idx="606">
                  <c:v>41464</c:v>
                </c:pt>
                <c:pt idx="607">
                  <c:v>41465</c:v>
                </c:pt>
                <c:pt idx="608">
                  <c:v>41466</c:v>
                </c:pt>
                <c:pt idx="609">
                  <c:v>41467</c:v>
                </c:pt>
                <c:pt idx="610">
                  <c:v>41470</c:v>
                </c:pt>
                <c:pt idx="611">
                  <c:v>41471</c:v>
                </c:pt>
                <c:pt idx="612">
                  <c:v>41472</c:v>
                </c:pt>
                <c:pt idx="613">
                  <c:v>41473</c:v>
                </c:pt>
                <c:pt idx="614">
                  <c:v>41474</c:v>
                </c:pt>
                <c:pt idx="615">
                  <c:v>41477</c:v>
                </c:pt>
                <c:pt idx="616">
                  <c:v>41478</c:v>
                </c:pt>
                <c:pt idx="617">
                  <c:v>41479</c:v>
                </c:pt>
                <c:pt idx="618">
                  <c:v>41480</c:v>
                </c:pt>
                <c:pt idx="619">
                  <c:v>41481</c:v>
                </c:pt>
                <c:pt idx="620">
                  <c:v>41484</c:v>
                </c:pt>
                <c:pt idx="621">
                  <c:v>41485</c:v>
                </c:pt>
                <c:pt idx="622">
                  <c:v>41486</c:v>
                </c:pt>
                <c:pt idx="623">
                  <c:v>41487</c:v>
                </c:pt>
                <c:pt idx="624">
                  <c:v>41488</c:v>
                </c:pt>
                <c:pt idx="625">
                  <c:v>41491</c:v>
                </c:pt>
                <c:pt idx="626">
                  <c:v>41492</c:v>
                </c:pt>
                <c:pt idx="627">
                  <c:v>41493</c:v>
                </c:pt>
                <c:pt idx="628">
                  <c:v>41494</c:v>
                </c:pt>
                <c:pt idx="629">
                  <c:v>41495</c:v>
                </c:pt>
                <c:pt idx="630">
                  <c:v>41498</c:v>
                </c:pt>
                <c:pt idx="631">
                  <c:v>41499</c:v>
                </c:pt>
                <c:pt idx="632">
                  <c:v>41500</c:v>
                </c:pt>
                <c:pt idx="633">
                  <c:v>41501</c:v>
                </c:pt>
                <c:pt idx="634">
                  <c:v>41502</c:v>
                </c:pt>
                <c:pt idx="635">
                  <c:v>41505</c:v>
                </c:pt>
                <c:pt idx="636">
                  <c:v>41506</c:v>
                </c:pt>
                <c:pt idx="637">
                  <c:v>41507</c:v>
                </c:pt>
                <c:pt idx="638">
                  <c:v>41508</c:v>
                </c:pt>
                <c:pt idx="639">
                  <c:v>41509</c:v>
                </c:pt>
                <c:pt idx="640">
                  <c:v>41512</c:v>
                </c:pt>
                <c:pt idx="641">
                  <c:v>41513</c:v>
                </c:pt>
                <c:pt idx="642">
                  <c:v>41514</c:v>
                </c:pt>
                <c:pt idx="643">
                  <c:v>41515</c:v>
                </c:pt>
                <c:pt idx="644">
                  <c:v>41516</c:v>
                </c:pt>
                <c:pt idx="645">
                  <c:v>41519</c:v>
                </c:pt>
                <c:pt idx="646">
                  <c:v>41520</c:v>
                </c:pt>
                <c:pt idx="647">
                  <c:v>41521</c:v>
                </c:pt>
                <c:pt idx="648">
                  <c:v>41522</c:v>
                </c:pt>
                <c:pt idx="649">
                  <c:v>41523</c:v>
                </c:pt>
                <c:pt idx="650">
                  <c:v>41526</c:v>
                </c:pt>
                <c:pt idx="651">
                  <c:v>41527</c:v>
                </c:pt>
                <c:pt idx="652">
                  <c:v>41528</c:v>
                </c:pt>
                <c:pt idx="653">
                  <c:v>41529</c:v>
                </c:pt>
                <c:pt idx="654">
                  <c:v>41530</c:v>
                </c:pt>
                <c:pt idx="655">
                  <c:v>41533</c:v>
                </c:pt>
                <c:pt idx="656">
                  <c:v>41534</c:v>
                </c:pt>
                <c:pt idx="657">
                  <c:v>41535</c:v>
                </c:pt>
                <c:pt idx="658">
                  <c:v>41536</c:v>
                </c:pt>
                <c:pt idx="659">
                  <c:v>41537</c:v>
                </c:pt>
                <c:pt idx="660">
                  <c:v>41540</c:v>
                </c:pt>
                <c:pt idx="661">
                  <c:v>41541</c:v>
                </c:pt>
                <c:pt idx="662">
                  <c:v>41542</c:v>
                </c:pt>
                <c:pt idx="663">
                  <c:v>41543</c:v>
                </c:pt>
                <c:pt idx="664">
                  <c:v>41544</c:v>
                </c:pt>
                <c:pt idx="665">
                  <c:v>41547</c:v>
                </c:pt>
                <c:pt idx="666">
                  <c:v>41548</c:v>
                </c:pt>
                <c:pt idx="667">
                  <c:v>41549</c:v>
                </c:pt>
                <c:pt idx="668">
                  <c:v>41550</c:v>
                </c:pt>
                <c:pt idx="669">
                  <c:v>41551</c:v>
                </c:pt>
                <c:pt idx="670">
                  <c:v>41554</c:v>
                </c:pt>
                <c:pt idx="671">
                  <c:v>41555</c:v>
                </c:pt>
                <c:pt idx="672">
                  <c:v>41556</c:v>
                </c:pt>
                <c:pt idx="673">
                  <c:v>41557</c:v>
                </c:pt>
                <c:pt idx="674">
                  <c:v>41558</c:v>
                </c:pt>
                <c:pt idx="675">
                  <c:v>41561</c:v>
                </c:pt>
                <c:pt idx="676">
                  <c:v>41562</c:v>
                </c:pt>
                <c:pt idx="677">
                  <c:v>41563</c:v>
                </c:pt>
                <c:pt idx="678">
                  <c:v>41564</c:v>
                </c:pt>
                <c:pt idx="679">
                  <c:v>41565</c:v>
                </c:pt>
                <c:pt idx="680">
                  <c:v>41568</c:v>
                </c:pt>
                <c:pt idx="681">
                  <c:v>41569</c:v>
                </c:pt>
                <c:pt idx="682">
                  <c:v>41570</c:v>
                </c:pt>
                <c:pt idx="683">
                  <c:v>41571</c:v>
                </c:pt>
                <c:pt idx="684">
                  <c:v>41572</c:v>
                </c:pt>
                <c:pt idx="685">
                  <c:v>41575</c:v>
                </c:pt>
                <c:pt idx="686">
                  <c:v>41576</c:v>
                </c:pt>
                <c:pt idx="687">
                  <c:v>41577</c:v>
                </c:pt>
                <c:pt idx="688">
                  <c:v>41578</c:v>
                </c:pt>
                <c:pt idx="689">
                  <c:v>41579</c:v>
                </c:pt>
                <c:pt idx="690">
                  <c:v>41582</c:v>
                </c:pt>
                <c:pt idx="691">
                  <c:v>41583</c:v>
                </c:pt>
                <c:pt idx="692">
                  <c:v>41584</c:v>
                </c:pt>
                <c:pt idx="693">
                  <c:v>41585</c:v>
                </c:pt>
                <c:pt idx="694">
                  <c:v>41586</c:v>
                </c:pt>
                <c:pt idx="695">
                  <c:v>41589</c:v>
                </c:pt>
                <c:pt idx="696">
                  <c:v>41590</c:v>
                </c:pt>
                <c:pt idx="697">
                  <c:v>41591</c:v>
                </c:pt>
                <c:pt idx="698">
                  <c:v>41592</c:v>
                </c:pt>
                <c:pt idx="699">
                  <c:v>41593</c:v>
                </c:pt>
                <c:pt idx="700">
                  <c:v>41596</c:v>
                </c:pt>
                <c:pt idx="701">
                  <c:v>41597</c:v>
                </c:pt>
                <c:pt idx="702">
                  <c:v>41598</c:v>
                </c:pt>
                <c:pt idx="703">
                  <c:v>41599</c:v>
                </c:pt>
                <c:pt idx="704">
                  <c:v>41600</c:v>
                </c:pt>
                <c:pt idx="705">
                  <c:v>41603</c:v>
                </c:pt>
                <c:pt idx="706">
                  <c:v>41604</c:v>
                </c:pt>
                <c:pt idx="707">
                  <c:v>41605</c:v>
                </c:pt>
                <c:pt idx="708">
                  <c:v>41606</c:v>
                </c:pt>
                <c:pt idx="709">
                  <c:v>41607</c:v>
                </c:pt>
                <c:pt idx="710">
                  <c:v>41610</c:v>
                </c:pt>
                <c:pt idx="711">
                  <c:v>41611</c:v>
                </c:pt>
                <c:pt idx="712">
                  <c:v>41612</c:v>
                </c:pt>
                <c:pt idx="713">
                  <c:v>41613</c:v>
                </c:pt>
                <c:pt idx="714">
                  <c:v>41614</c:v>
                </c:pt>
                <c:pt idx="715">
                  <c:v>41617</c:v>
                </c:pt>
                <c:pt idx="716">
                  <c:v>41618</c:v>
                </c:pt>
                <c:pt idx="717">
                  <c:v>41619</c:v>
                </c:pt>
                <c:pt idx="718">
                  <c:v>41620</c:v>
                </c:pt>
                <c:pt idx="719">
                  <c:v>41621</c:v>
                </c:pt>
                <c:pt idx="720">
                  <c:v>41624</c:v>
                </c:pt>
                <c:pt idx="721">
                  <c:v>41625</c:v>
                </c:pt>
                <c:pt idx="722">
                  <c:v>41626</c:v>
                </c:pt>
                <c:pt idx="723">
                  <c:v>41627</c:v>
                </c:pt>
                <c:pt idx="724">
                  <c:v>41628</c:v>
                </c:pt>
                <c:pt idx="725">
                  <c:v>41631</c:v>
                </c:pt>
                <c:pt idx="726">
                  <c:v>41632</c:v>
                </c:pt>
                <c:pt idx="727">
                  <c:v>41635</c:v>
                </c:pt>
                <c:pt idx="728">
                  <c:v>41638</c:v>
                </c:pt>
                <c:pt idx="729">
                  <c:v>41639</c:v>
                </c:pt>
                <c:pt idx="730">
                  <c:v>41641</c:v>
                </c:pt>
                <c:pt idx="731">
                  <c:v>41642</c:v>
                </c:pt>
                <c:pt idx="732">
                  <c:v>41645</c:v>
                </c:pt>
                <c:pt idx="733">
                  <c:v>41646</c:v>
                </c:pt>
                <c:pt idx="734">
                  <c:v>41647</c:v>
                </c:pt>
                <c:pt idx="735">
                  <c:v>41648</c:v>
                </c:pt>
                <c:pt idx="736">
                  <c:v>41649</c:v>
                </c:pt>
                <c:pt idx="737">
                  <c:v>41652</c:v>
                </c:pt>
                <c:pt idx="738">
                  <c:v>41653</c:v>
                </c:pt>
                <c:pt idx="739">
                  <c:v>41654</c:v>
                </c:pt>
                <c:pt idx="740">
                  <c:v>41655</c:v>
                </c:pt>
                <c:pt idx="741">
                  <c:v>41656</c:v>
                </c:pt>
                <c:pt idx="742">
                  <c:v>41659</c:v>
                </c:pt>
                <c:pt idx="743">
                  <c:v>41660</c:v>
                </c:pt>
                <c:pt idx="744">
                  <c:v>41661</c:v>
                </c:pt>
                <c:pt idx="745">
                  <c:v>41662</c:v>
                </c:pt>
                <c:pt idx="746">
                  <c:v>41663</c:v>
                </c:pt>
                <c:pt idx="747">
                  <c:v>41666</c:v>
                </c:pt>
                <c:pt idx="748">
                  <c:v>41667</c:v>
                </c:pt>
                <c:pt idx="749">
                  <c:v>41668</c:v>
                </c:pt>
                <c:pt idx="750">
                  <c:v>41669</c:v>
                </c:pt>
                <c:pt idx="751">
                  <c:v>41670</c:v>
                </c:pt>
                <c:pt idx="752">
                  <c:v>41673</c:v>
                </c:pt>
                <c:pt idx="753">
                  <c:v>41674</c:v>
                </c:pt>
                <c:pt idx="754">
                  <c:v>41675</c:v>
                </c:pt>
                <c:pt idx="755">
                  <c:v>41676</c:v>
                </c:pt>
                <c:pt idx="756">
                  <c:v>41677</c:v>
                </c:pt>
                <c:pt idx="757">
                  <c:v>41680</c:v>
                </c:pt>
                <c:pt idx="758">
                  <c:v>41681</c:v>
                </c:pt>
                <c:pt idx="759">
                  <c:v>41682</c:v>
                </c:pt>
                <c:pt idx="760">
                  <c:v>41683</c:v>
                </c:pt>
                <c:pt idx="761">
                  <c:v>41684</c:v>
                </c:pt>
                <c:pt idx="762">
                  <c:v>41687</c:v>
                </c:pt>
                <c:pt idx="763">
                  <c:v>41688</c:v>
                </c:pt>
                <c:pt idx="764">
                  <c:v>41689</c:v>
                </c:pt>
                <c:pt idx="765">
                  <c:v>41690</c:v>
                </c:pt>
                <c:pt idx="766">
                  <c:v>41691</c:v>
                </c:pt>
                <c:pt idx="767">
                  <c:v>41694</c:v>
                </c:pt>
                <c:pt idx="768">
                  <c:v>41695</c:v>
                </c:pt>
                <c:pt idx="769">
                  <c:v>41696</c:v>
                </c:pt>
                <c:pt idx="770">
                  <c:v>41697</c:v>
                </c:pt>
                <c:pt idx="771">
                  <c:v>41698</c:v>
                </c:pt>
                <c:pt idx="772">
                  <c:v>41701</c:v>
                </c:pt>
                <c:pt idx="773">
                  <c:v>41702</c:v>
                </c:pt>
                <c:pt idx="774">
                  <c:v>41703</c:v>
                </c:pt>
                <c:pt idx="775">
                  <c:v>41704</c:v>
                </c:pt>
                <c:pt idx="776">
                  <c:v>41705</c:v>
                </c:pt>
                <c:pt idx="777">
                  <c:v>41708</c:v>
                </c:pt>
                <c:pt idx="778">
                  <c:v>41709</c:v>
                </c:pt>
                <c:pt idx="779">
                  <c:v>41710</c:v>
                </c:pt>
                <c:pt idx="780">
                  <c:v>41711</c:v>
                </c:pt>
                <c:pt idx="781">
                  <c:v>41712</c:v>
                </c:pt>
                <c:pt idx="782">
                  <c:v>41715</c:v>
                </c:pt>
                <c:pt idx="783">
                  <c:v>41716</c:v>
                </c:pt>
                <c:pt idx="784">
                  <c:v>41717</c:v>
                </c:pt>
                <c:pt idx="785">
                  <c:v>41718</c:v>
                </c:pt>
                <c:pt idx="786">
                  <c:v>41719</c:v>
                </c:pt>
                <c:pt idx="787">
                  <c:v>41722</c:v>
                </c:pt>
                <c:pt idx="788">
                  <c:v>41723</c:v>
                </c:pt>
                <c:pt idx="789">
                  <c:v>41724</c:v>
                </c:pt>
                <c:pt idx="790">
                  <c:v>41725</c:v>
                </c:pt>
                <c:pt idx="791">
                  <c:v>41726</c:v>
                </c:pt>
                <c:pt idx="792">
                  <c:v>41729</c:v>
                </c:pt>
                <c:pt idx="793">
                  <c:v>41730</c:v>
                </c:pt>
                <c:pt idx="794">
                  <c:v>41731</c:v>
                </c:pt>
                <c:pt idx="795">
                  <c:v>41732</c:v>
                </c:pt>
                <c:pt idx="796">
                  <c:v>41733</c:v>
                </c:pt>
                <c:pt idx="797">
                  <c:v>41736</c:v>
                </c:pt>
                <c:pt idx="798">
                  <c:v>41737</c:v>
                </c:pt>
                <c:pt idx="799">
                  <c:v>41738</c:v>
                </c:pt>
                <c:pt idx="800">
                  <c:v>41739</c:v>
                </c:pt>
                <c:pt idx="801">
                  <c:v>41740</c:v>
                </c:pt>
                <c:pt idx="802">
                  <c:v>41743</c:v>
                </c:pt>
                <c:pt idx="803">
                  <c:v>41744</c:v>
                </c:pt>
                <c:pt idx="804">
                  <c:v>41745</c:v>
                </c:pt>
                <c:pt idx="805">
                  <c:v>41746</c:v>
                </c:pt>
                <c:pt idx="806">
                  <c:v>41751</c:v>
                </c:pt>
                <c:pt idx="807">
                  <c:v>41752</c:v>
                </c:pt>
                <c:pt idx="808">
                  <c:v>41753</c:v>
                </c:pt>
                <c:pt idx="809">
                  <c:v>41754</c:v>
                </c:pt>
                <c:pt idx="810">
                  <c:v>41757</c:v>
                </c:pt>
                <c:pt idx="811">
                  <c:v>41758</c:v>
                </c:pt>
                <c:pt idx="812">
                  <c:v>41759</c:v>
                </c:pt>
                <c:pt idx="813">
                  <c:v>41760</c:v>
                </c:pt>
                <c:pt idx="814">
                  <c:v>41761</c:v>
                </c:pt>
                <c:pt idx="815">
                  <c:v>41764</c:v>
                </c:pt>
                <c:pt idx="816">
                  <c:v>41765</c:v>
                </c:pt>
                <c:pt idx="817">
                  <c:v>41766</c:v>
                </c:pt>
                <c:pt idx="818">
                  <c:v>41767</c:v>
                </c:pt>
                <c:pt idx="819">
                  <c:v>41768</c:v>
                </c:pt>
                <c:pt idx="820">
                  <c:v>41771</c:v>
                </c:pt>
                <c:pt idx="821">
                  <c:v>41772</c:v>
                </c:pt>
                <c:pt idx="822">
                  <c:v>41773</c:v>
                </c:pt>
                <c:pt idx="823">
                  <c:v>41774</c:v>
                </c:pt>
                <c:pt idx="824">
                  <c:v>41775</c:v>
                </c:pt>
                <c:pt idx="825">
                  <c:v>41778</c:v>
                </c:pt>
                <c:pt idx="826">
                  <c:v>41779</c:v>
                </c:pt>
                <c:pt idx="827">
                  <c:v>41780</c:v>
                </c:pt>
                <c:pt idx="828">
                  <c:v>41781</c:v>
                </c:pt>
                <c:pt idx="829">
                  <c:v>41782</c:v>
                </c:pt>
                <c:pt idx="830">
                  <c:v>41785</c:v>
                </c:pt>
                <c:pt idx="831">
                  <c:v>41786</c:v>
                </c:pt>
                <c:pt idx="832">
                  <c:v>41787</c:v>
                </c:pt>
                <c:pt idx="833">
                  <c:v>41788</c:v>
                </c:pt>
                <c:pt idx="834">
                  <c:v>41789</c:v>
                </c:pt>
                <c:pt idx="835">
                  <c:v>41792</c:v>
                </c:pt>
                <c:pt idx="836">
                  <c:v>41793</c:v>
                </c:pt>
                <c:pt idx="837">
                  <c:v>41794</c:v>
                </c:pt>
                <c:pt idx="838">
                  <c:v>41795</c:v>
                </c:pt>
                <c:pt idx="839">
                  <c:v>41796</c:v>
                </c:pt>
                <c:pt idx="840">
                  <c:v>41799</c:v>
                </c:pt>
                <c:pt idx="841">
                  <c:v>41800</c:v>
                </c:pt>
                <c:pt idx="842">
                  <c:v>41801</c:v>
                </c:pt>
                <c:pt idx="843">
                  <c:v>41802</c:v>
                </c:pt>
                <c:pt idx="844">
                  <c:v>41803</c:v>
                </c:pt>
                <c:pt idx="845">
                  <c:v>41806</c:v>
                </c:pt>
                <c:pt idx="846">
                  <c:v>41807</c:v>
                </c:pt>
                <c:pt idx="847">
                  <c:v>41808</c:v>
                </c:pt>
                <c:pt idx="848">
                  <c:v>41809</c:v>
                </c:pt>
                <c:pt idx="849">
                  <c:v>41810</c:v>
                </c:pt>
                <c:pt idx="850">
                  <c:v>41813</c:v>
                </c:pt>
                <c:pt idx="851">
                  <c:v>41814</c:v>
                </c:pt>
                <c:pt idx="852">
                  <c:v>41815</c:v>
                </c:pt>
                <c:pt idx="853">
                  <c:v>41816</c:v>
                </c:pt>
                <c:pt idx="854">
                  <c:v>41817</c:v>
                </c:pt>
                <c:pt idx="855">
                  <c:v>41820</c:v>
                </c:pt>
                <c:pt idx="856">
                  <c:v>41821</c:v>
                </c:pt>
                <c:pt idx="857">
                  <c:v>41822</c:v>
                </c:pt>
                <c:pt idx="858">
                  <c:v>41823</c:v>
                </c:pt>
                <c:pt idx="859">
                  <c:v>41824</c:v>
                </c:pt>
                <c:pt idx="860">
                  <c:v>41827</c:v>
                </c:pt>
                <c:pt idx="861">
                  <c:v>41828</c:v>
                </c:pt>
                <c:pt idx="862">
                  <c:v>41829</c:v>
                </c:pt>
                <c:pt idx="863">
                  <c:v>41830</c:v>
                </c:pt>
                <c:pt idx="864">
                  <c:v>41831</c:v>
                </c:pt>
                <c:pt idx="865">
                  <c:v>41834</c:v>
                </c:pt>
                <c:pt idx="866">
                  <c:v>41835</c:v>
                </c:pt>
                <c:pt idx="867">
                  <c:v>41836</c:v>
                </c:pt>
                <c:pt idx="868">
                  <c:v>41837</c:v>
                </c:pt>
                <c:pt idx="869">
                  <c:v>41838</c:v>
                </c:pt>
                <c:pt idx="870">
                  <c:v>41841</c:v>
                </c:pt>
                <c:pt idx="871">
                  <c:v>41842</c:v>
                </c:pt>
                <c:pt idx="872">
                  <c:v>41843</c:v>
                </c:pt>
                <c:pt idx="873">
                  <c:v>41844</c:v>
                </c:pt>
                <c:pt idx="874">
                  <c:v>41845</c:v>
                </c:pt>
                <c:pt idx="875">
                  <c:v>41848</c:v>
                </c:pt>
                <c:pt idx="876">
                  <c:v>41849</c:v>
                </c:pt>
                <c:pt idx="877">
                  <c:v>41850</c:v>
                </c:pt>
                <c:pt idx="878">
                  <c:v>41851</c:v>
                </c:pt>
                <c:pt idx="879">
                  <c:v>41852</c:v>
                </c:pt>
                <c:pt idx="880">
                  <c:v>41855</c:v>
                </c:pt>
                <c:pt idx="881">
                  <c:v>41856</c:v>
                </c:pt>
                <c:pt idx="882">
                  <c:v>41857</c:v>
                </c:pt>
                <c:pt idx="883">
                  <c:v>41858</c:v>
                </c:pt>
                <c:pt idx="884">
                  <c:v>41859</c:v>
                </c:pt>
                <c:pt idx="885">
                  <c:v>41862</c:v>
                </c:pt>
                <c:pt idx="886">
                  <c:v>41863</c:v>
                </c:pt>
                <c:pt idx="887">
                  <c:v>41864</c:v>
                </c:pt>
                <c:pt idx="888">
                  <c:v>41865</c:v>
                </c:pt>
                <c:pt idx="889">
                  <c:v>41866</c:v>
                </c:pt>
                <c:pt idx="890">
                  <c:v>41869</c:v>
                </c:pt>
                <c:pt idx="891">
                  <c:v>41870</c:v>
                </c:pt>
                <c:pt idx="892">
                  <c:v>41871</c:v>
                </c:pt>
                <c:pt idx="893">
                  <c:v>41872</c:v>
                </c:pt>
                <c:pt idx="894">
                  <c:v>41873</c:v>
                </c:pt>
                <c:pt idx="895">
                  <c:v>41876</c:v>
                </c:pt>
                <c:pt idx="896">
                  <c:v>41877</c:v>
                </c:pt>
                <c:pt idx="897">
                  <c:v>41878</c:v>
                </c:pt>
                <c:pt idx="898">
                  <c:v>41879</c:v>
                </c:pt>
                <c:pt idx="899">
                  <c:v>41880</c:v>
                </c:pt>
                <c:pt idx="900">
                  <c:v>41883</c:v>
                </c:pt>
                <c:pt idx="901">
                  <c:v>41884</c:v>
                </c:pt>
                <c:pt idx="902">
                  <c:v>41885</c:v>
                </c:pt>
                <c:pt idx="903">
                  <c:v>41886</c:v>
                </c:pt>
                <c:pt idx="904">
                  <c:v>41887</c:v>
                </c:pt>
                <c:pt idx="905">
                  <c:v>41890</c:v>
                </c:pt>
                <c:pt idx="906">
                  <c:v>41891</c:v>
                </c:pt>
                <c:pt idx="907">
                  <c:v>41892</c:v>
                </c:pt>
                <c:pt idx="908">
                  <c:v>41893</c:v>
                </c:pt>
                <c:pt idx="909">
                  <c:v>41894</c:v>
                </c:pt>
                <c:pt idx="910">
                  <c:v>41897</c:v>
                </c:pt>
                <c:pt idx="911">
                  <c:v>41898</c:v>
                </c:pt>
                <c:pt idx="912">
                  <c:v>41899</c:v>
                </c:pt>
                <c:pt idx="913">
                  <c:v>41900</c:v>
                </c:pt>
                <c:pt idx="914">
                  <c:v>41901</c:v>
                </c:pt>
                <c:pt idx="915">
                  <c:v>41904</c:v>
                </c:pt>
                <c:pt idx="916">
                  <c:v>41905</c:v>
                </c:pt>
                <c:pt idx="917">
                  <c:v>41906</c:v>
                </c:pt>
                <c:pt idx="918">
                  <c:v>41907</c:v>
                </c:pt>
                <c:pt idx="919">
                  <c:v>41908</c:v>
                </c:pt>
                <c:pt idx="920">
                  <c:v>41911</c:v>
                </c:pt>
                <c:pt idx="921">
                  <c:v>41912</c:v>
                </c:pt>
                <c:pt idx="922">
                  <c:v>41913</c:v>
                </c:pt>
                <c:pt idx="923">
                  <c:v>41914</c:v>
                </c:pt>
                <c:pt idx="924">
                  <c:v>41915</c:v>
                </c:pt>
                <c:pt idx="925">
                  <c:v>41918</c:v>
                </c:pt>
                <c:pt idx="926">
                  <c:v>41919</c:v>
                </c:pt>
                <c:pt idx="927">
                  <c:v>41920</c:v>
                </c:pt>
                <c:pt idx="928">
                  <c:v>41921</c:v>
                </c:pt>
                <c:pt idx="929">
                  <c:v>41922</c:v>
                </c:pt>
                <c:pt idx="930">
                  <c:v>41925</c:v>
                </c:pt>
                <c:pt idx="931">
                  <c:v>41926</c:v>
                </c:pt>
                <c:pt idx="932">
                  <c:v>41927</c:v>
                </c:pt>
                <c:pt idx="933">
                  <c:v>41928</c:v>
                </c:pt>
                <c:pt idx="934">
                  <c:v>41929</c:v>
                </c:pt>
                <c:pt idx="935">
                  <c:v>41932</c:v>
                </c:pt>
                <c:pt idx="936">
                  <c:v>41933</c:v>
                </c:pt>
                <c:pt idx="937">
                  <c:v>41934</c:v>
                </c:pt>
                <c:pt idx="938">
                  <c:v>41935</c:v>
                </c:pt>
                <c:pt idx="939">
                  <c:v>41936</c:v>
                </c:pt>
                <c:pt idx="940">
                  <c:v>41939</c:v>
                </c:pt>
                <c:pt idx="941">
                  <c:v>41940</c:v>
                </c:pt>
                <c:pt idx="942">
                  <c:v>41941</c:v>
                </c:pt>
                <c:pt idx="943">
                  <c:v>41942</c:v>
                </c:pt>
                <c:pt idx="944">
                  <c:v>41943</c:v>
                </c:pt>
                <c:pt idx="945">
                  <c:v>41946</c:v>
                </c:pt>
                <c:pt idx="946">
                  <c:v>41947</c:v>
                </c:pt>
                <c:pt idx="947">
                  <c:v>41948</c:v>
                </c:pt>
                <c:pt idx="948">
                  <c:v>41949</c:v>
                </c:pt>
                <c:pt idx="949">
                  <c:v>41950</c:v>
                </c:pt>
                <c:pt idx="950">
                  <c:v>41953</c:v>
                </c:pt>
                <c:pt idx="951">
                  <c:v>41954</c:v>
                </c:pt>
                <c:pt idx="952">
                  <c:v>41955</c:v>
                </c:pt>
                <c:pt idx="953">
                  <c:v>41956</c:v>
                </c:pt>
                <c:pt idx="954">
                  <c:v>41957</c:v>
                </c:pt>
                <c:pt idx="955">
                  <c:v>41960</c:v>
                </c:pt>
                <c:pt idx="956">
                  <c:v>41961</c:v>
                </c:pt>
                <c:pt idx="957">
                  <c:v>41962</c:v>
                </c:pt>
                <c:pt idx="958">
                  <c:v>41963</c:v>
                </c:pt>
                <c:pt idx="959">
                  <c:v>41964</c:v>
                </c:pt>
                <c:pt idx="960">
                  <c:v>41967</c:v>
                </c:pt>
                <c:pt idx="961">
                  <c:v>41968</c:v>
                </c:pt>
                <c:pt idx="962">
                  <c:v>41969</c:v>
                </c:pt>
                <c:pt idx="963">
                  <c:v>41970</c:v>
                </c:pt>
                <c:pt idx="964">
                  <c:v>41971</c:v>
                </c:pt>
                <c:pt idx="965">
                  <c:v>41974</c:v>
                </c:pt>
                <c:pt idx="966">
                  <c:v>41975</c:v>
                </c:pt>
                <c:pt idx="967">
                  <c:v>41976</c:v>
                </c:pt>
                <c:pt idx="968">
                  <c:v>41977</c:v>
                </c:pt>
                <c:pt idx="969">
                  <c:v>41978</c:v>
                </c:pt>
                <c:pt idx="970">
                  <c:v>41981</c:v>
                </c:pt>
                <c:pt idx="971">
                  <c:v>41982</c:v>
                </c:pt>
                <c:pt idx="972">
                  <c:v>41983</c:v>
                </c:pt>
                <c:pt idx="973">
                  <c:v>41984</c:v>
                </c:pt>
                <c:pt idx="974">
                  <c:v>41985</c:v>
                </c:pt>
                <c:pt idx="975">
                  <c:v>41988</c:v>
                </c:pt>
                <c:pt idx="976">
                  <c:v>41989</c:v>
                </c:pt>
                <c:pt idx="977">
                  <c:v>41990</c:v>
                </c:pt>
                <c:pt idx="978">
                  <c:v>41991</c:v>
                </c:pt>
                <c:pt idx="979">
                  <c:v>41992</c:v>
                </c:pt>
                <c:pt idx="980">
                  <c:v>41995</c:v>
                </c:pt>
                <c:pt idx="981">
                  <c:v>41996</c:v>
                </c:pt>
                <c:pt idx="982">
                  <c:v>41997</c:v>
                </c:pt>
                <c:pt idx="983">
                  <c:v>42002</c:v>
                </c:pt>
                <c:pt idx="984">
                  <c:v>42003</c:v>
                </c:pt>
                <c:pt idx="985">
                  <c:v>42004</c:v>
                </c:pt>
                <c:pt idx="986">
                  <c:v>42006</c:v>
                </c:pt>
                <c:pt idx="987">
                  <c:v>42009</c:v>
                </c:pt>
                <c:pt idx="988">
                  <c:v>42010</c:v>
                </c:pt>
                <c:pt idx="989">
                  <c:v>42011</c:v>
                </c:pt>
                <c:pt idx="990">
                  <c:v>42012</c:v>
                </c:pt>
                <c:pt idx="991">
                  <c:v>42013</c:v>
                </c:pt>
                <c:pt idx="992">
                  <c:v>42016</c:v>
                </c:pt>
                <c:pt idx="993">
                  <c:v>42017</c:v>
                </c:pt>
                <c:pt idx="994">
                  <c:v>42018</c:v>
                </c:pt>
                <c:pt idx="995">
                  <c:v>42019</c:v>
                </c:pt>
                <c:pt idx="996">
                  <c:v>42020</c:v>
                </c:pt>
                <c:pt idx="997">
                  <c:v>42023</c:v>
                </c:pt>
                <c:pt idx="998">
                  <c:v>42024</c:v>
                </c:pt>
                <c:pt idx="999">
                  <c:v>42025</c:v>
                </c:pt>
                <c:pt idx="1000">
                  <c:v>42026</c:v>
                </c:pt>
                <c:pt idx="1001">
                  <c:v>42027</c:v>
                </c:pt>
                <c:pt idx="1002">
                  <c:v>42030</c:v>
                </c:pt>
                <c:pt idx="1003">
                  <c:v>42031</c:v>
                </c:pt>
                <c:pt idx="1004">
                  <c:v>42032</c:v>
                </c:pt>
                <c:pt idx="1005">
                  <c:v>42033</c:v>
                </c:pt>
                <c:pt idx="1006">
                  <c:v>42034</c:v>
                </c:pt>
                <c:pt idx="1007">
                  <c:v>42037</c:v>
                </c:pt>
                <c:pt idx="1008">
                  <c:v>42038</c:v>
                </c:pt>
                <c:pt idx="1009">
                  <c:v>42039</c:v>
                </c:pt>
                <c:pt idx="1010">
                  <c:v>42040</c:v>
                </c:pt>
                <c:pt idx="1011">
                  <c:v>42041</c:v>
                </c:pt>
                <c:pt idx="1012">
                  <c:v>42044</c:v>
                </c:pt>
                <c:pt idx="1013">
                  <c:v>42045</c:v>
                </c:pt>
                <c:pt idx="1014">
                  <c:v>42046</c:v>
                </c:pt>
                <c:pt idx="1015">
                  <c:v>42047</c:v>
                </c:pt>
                <c:pt idx="1016">
                  <c:v>42048</c:v>
                </c:pt>
                <c:pt idx="1017">
                  <c:v>42051</c:v>
                </c:pt>
                <c:pt idx="1018">
                  <c:v>42052</c:v>
                </c:pt>
                <c:pt idx="1019">
                  <c:v>42053</c:v>
                </c:pt>
                <c:pt idx="1020">
                  <c:v>42054</c:v>
                </c:pt>
                <c:pt idx="1021">
                  <c:v>42055</c:v>
                </c:pt>
                <c:pt idx="1022">
                  <c:v>42058</c:v>
                </c:pt>
                <c:pt idx="1023">
                  <c:v>42059</c:v>
                </c:pt>
                <c:pt idx="1024">
                  <c:v>42060</c:v>
                </c:pt>
                <c:pt idx="1025">
                  <c:v>42061</c:v>
                </c:pt>
                <c:pt idx="1026">
                  <c:v>42062</c:v>
                </c:pt>
                <c:pt idx="1027">
                  <c:v>42065</c:v>
                </c:pt>
                <c:pt idx="1028">
                  <c:v>42066</c:v>
                </c:pt>
                <c:pt idx="1029">
                  <c:v>42067</c:v>
                </c:pt>
                <c:pt idx="1030">
                  <c:v>42068</c:v>
                </c:pt>
                <c:pt idx="1031">
                  <c:v>42069</c:v>
                </c:pt>
                <c:pt idx="1032">
                  <c:v>42072</c:v>
                </c:pt>
                <c:pt idx="1033">
                  <c:v>42073</c:v>
                </c:pt>
                <c:pt idx="1034">
                  <c:v>42074</c:v>
                </c:pt>
                <c:pt idx="1035">
                  <c:v>42075</c:v>
                </c:pt>
                <c:pt idx="1036">
                  <c:v>42076</c:v>
                </c:pt>
                <c:pt idx="1037">
                  <c:v>42079</c:v>
                </c:pt>
                <c:pt idx="1038">
                  <c:v>42080</c:v>
                </c:pt>
                <c:pt idx="1039">
                  <c:v>42081</c:v>
                </c:pt>
                <c:pt idx="1040">
                  <c:v>42082</c:v>
                </c:pt>
                <c:pt idx="1041">
                  <c:v>42083</c:v>
                </c:pt>
                <c:pt idx="1042">
                  <c:v>42086</c:v>
                </c:pt>
                <c:pt idx="1043">
                  <c:v>42087</c:v>
                </c:pt>
                <c:pt idx="1044">
                  <c:v>42088</c:v>
                </c:pt>
                <c:pt idx="1045">
                  <c:v>42089</c:v>
                </c:pt>
                <c:pt idx="1046">
                  <c:v>42090</c:v>
                </c:pt>
                <c:pt idx="1047">
                  <c:v>42093</c:v>
                </c:pt>
                <c:pt idx="1048">
                  <c:v>42094</c:v>
                </c:pt>
                <c:pt idx="1049">
                  <c:v>42095</c:v>
                </c:pt>
                <c:pt idx="1050">
                  <c:v>42096</c:v>
                </c:pt>
                <c:pt idx="1051">
                  <c:v>42101</c:v>
                </c:pt>
                <c:pt idx="1052">
                  <c:v>42102</c:v>
                </c:pt>
                <c:pt idx="1053">
                  <c:v>42103</c:v>
                </c:pt>
                <c:pt idx="1054">
                  <c:v>42104</c:v>
                </c:pt>
                <c:pt idx="1055">
                  <c:v>42107</c:v>
                </c:pt>
                <c:pt idx="1056">
                  <c:v>42108</c:v>
                </c:pt>
                <c:pt idx="1057">
                  <c:v>42109</c:v>
                </c:pt>
                <c:pt idx="1058">
                  <c:v>42110</c:v>
                </c:pt>
                <c:pt idx="1059">
                  <c:v>42111</c:v>
                </c:pt>
                <c:pt idx="1060">
                  <c:v>42114</c:v>
                </c:pt>
                <c:pt idx="1061">
                  <c:v>42115</c:v>
                </c:pt>
                <c:pt idx="1062">
                  <c:v>42116</c:v>
                </c:pt>
                <c:pt idx="1063">
                  <c:v>42117</c:v>
                </c:pt>
                <c:pt idx="1064">
                  <c:v>42118</c:v>
                </c:pt>
                <c:pt idx="1065">
                  <c:v>42121</c:v>
                </c:pt>
                <c:pt idx="1066">
                  <c:v>42122</c:v>
                </c:pt>
                <c:pt idx="1067">
                  <c:v>42123</c:v>
                </c:pt>
                <c:pt idx="1068">
                  <c:v>42124</c:v>
                </c:pt>
                <c:pt idx="1069">
                  <c:v>42125</c:v>
                </c:pt>
                <c:pt idx="1070">
                  <c:v>42128</c:v>
                </c:pt>
                <c:pt idx="1071">
                  <c:v>42129</c:v>
                </c:pt>
                <c:pt idx="1072">
                  <c:v>42130</c:v>
                </c:pt>
                <c:pt idx="1073">
                  <c:v>42131</c:v>
                </c:pt>
                <c:pt idx="1074">
                  <c:v>42132</c:v>
                </c:pt>
                <c:pt idx="1075">
                  <c:v>42135</c:v>
                </c:pt>
                <c:pt idx="1076">
                  <c:v>42136</c:v>
                </c:pt>
                <c:pt idx="1077">
                  <c:v>42137</c:v>
                </c:pt>
                <c:pt idx="1078">
                  <c:v>42138</c:v>
                </c:pt>
                <c:pt idx="1079">
                  <c:v>42139</c:v>
                </c:pt>
                <c:pt idx="1080">
                  <c:v>42142</c:v>
                </c:pt>
                <c:pt idx="1081">
                  <c:v>42143</c:v>
                </c:pt>
                <c:pt idx="1082">
                  <c:v>42144</c:v>
                </c:pt>
                <c:pt idx="1083">
                  <c:v>42145</c:v>
                </c:pt>
                <c:pt idx="1084">
                  <c:v>42146</c:v>
                </c:pt>
                <c:pt idx="1085">
                  <c:v>42149</c:v>
                </c:pt>
                <c:pt idx="1086">
                  <c:v>42150</c:v>
                </c:pt>
                <c:pt idx="1087">
                  <c:v>42151</c:v>
                </c:pt>
                <c:pt idx="1088">
                  <c:v>42152</c:v>
                </c:pt>
                <c:pt idx="1089">
                  <c:v>42153</c:v>
                </c:pt>
                <c:pt idx="1090">
                  <c:v>42156</c:v>
                </c:pt>
                <c:pt idx="1091">
                  <c:v>42157</c:v>
                </c:pt>
                <c:pt idx="1092">
                  <c:v>42158</c:v>
                </c:pt>
                <c:pt idx="1093">
                  <c:v>42159</c:v>
                </c:pt>
                <c:pt idx="1094">
                  <c:v>42160</c:v>
                </c:pt>
                <c:pt idx="1095">
                  <c:v>42163</c:v>
                </c:pt>
                <c:pt idx="1096">
                  <c:v>42164</c:v>
                </c:pt>
                <c:pt idx="1097">
                  <c:v>42165</c:v>
                </c:pt>
                <c:pt idx="1098">
                  <c:v>42166</c:v>
                </c:pt>
                <c:pt idx="1099">
                  <c:v>42167</c:v>
                </c:pt>
                <c:pt idx="1100">
                  <c:v>42170</c:v>
                </c:pt>
                <c:pt idx="1101">
                  <c:v>42171</c:v>
                </c:pt>
                <c:pt idx="1102">
                  <c:v>42172</c:v>
                </c:pt>
                <c:pt idx="1103">
                  <c:v>42173</c:v>
                </c:pt>
                <c:pt idx="1104">
                  <c:v>42174</c:v>
                </c:pt>
                <c:pt idx="1105">
                  <c:v>42177</c:v>
                </c:pt>
                <c:pt idx="1106">
                  <c:v>42178</c:v>
                </c:pt>
                <c:pt idx="1107">
                  <c:v>42179</c:v>
                </c:pt>
                <c:pt idx="1108">
                  <c:v>42180</c:v>
                </c:pt>
                <c:pt idx="1109">
                  <c:v>42181</c:v>
                </c:pt>
                <c:pt idx="1110">
                  <c:v>42184</c:v>
                </c:pt>
                <c:pt idx="1111">
                  <c:v>42185</c:v>
                </c:pt>
                <c:pt idx="1112">
                  <c:v>42186</c:v>
                </c:pt>
                <c:pt idx="1113">
                  <c:v>42187</c:v>
                </c:pt>
                <c:pt idx="1114">
                  <c:v>42188</c:v>
                </c:pt>
                <c:pt idx="1115">
                  <c:v>42191</c:v>
                </c:pt>
                <c:pt idx="1116">
                  <c:v>42192</c:v>
                </c:pt>
                <c:pt idx="1117">
                  <c:v>42193</c:v>
                </c:pt>
                <c:pt idx="1118">
                  <c:v>42194</c:v>
                </c:pt>
                <c:pt idx="1119">
                  <c:v>42195</c:v>
                </c:pt>
                <c:pt idx="1120">
                  <c:v>42198</c:v>
                </c:pt>
                <c:pt idx="1121">
                  <c:v>42199</c:v>
                </c:pt>
                <c:pt idx="1122">
                  <c:v>42200</c:v>
                </c:pt>
                <c:pt idx="1123">
                  <c:v>42201</c:v>
                </c:pt>
                <c:pt idx="1124">
                  <c:v>42202</c:v>
                </c:pt>
                <c:pt idx="1125">
                  <c:v>42205</c:v>
                </c:pt>
                <c:pt idx="1126">
                  <c:v>42206</c:v>
                </c:pt>
                <c:pt idx="1127">
                  <c:v>42207</c:v>
                </c:pt>
                <c:pt idx="1128">
                  <c:v>42208</c:v>
                </c:pt>
                <c:pt idx="1129">
                  <c:v>42209</c:v>
                </c:pt>
                <c:pt idx="1130">
                  <c:v>42212</c:v>
                </c:pt>
                <c:pt idx="1131">
                  <c:v>42213</c:v>
                </c:pt>
                <c:pt idx="1132">
                  <c:v>42214</c:v>
                </c:pt>
                <c:pt idx="1133">
                  <c:v>42215</c:v>
                </c:pt>
                <c:pt idx="1134">
                  <c:v>42216</c:v>
                </c:pt>
                <c:pt idx="1135">
                  <c:v>42219</c:v>
                </c:pt>
                <c:pt idx="1136">
                  <c:v>42220</c:v>
                </c:pt>
                <c:pt idx="1137">
                  <c:v>42221</c:v>
                </c:pt>
                <c:pt idx="1138">
                  <c:v>42222</c:v>
                </c:pt>
                <c:pt idx="1139">
                  <c:v>42223</c:v>
                </c:pt>
                <c:pt idx="1140">
                  <c:v>42226</c:v>
                </c:pt>
                <c:pt idx="1141">
                  <c:v>42227</c:v>
                </c:pt>
                <c:pt idx="1142">
                  <c:v>42228</c:v>
                </c:pt>
                <c:pt idx="1143">
                  <c:v>42229</c:v>
                </c:pt>
                <c:pt idx="1144">
                  <c:v>42230</c:v>
                </c:pt>
                <c:pt idx="1145">
                  <c:v>42233</c:v>
                </c:pt>
                <c:pt idx="1146">
                  <c:v>42234</c:v>
                </c:pt>
                <c:pt idx="1147">
                  <c:v>42235</c:v>
                </c:pt>
                <c:pt idx="1148">
                  <c:v>42236</c:v>
                </c:pt>
                <c:pt idx="1149">
                  <c:v>42237</c:v>
                </c:pt>
                <c:pt idx="1150">
                  <c:v>42240</c:v>
                </c:pt>
                <c:pt idx="1151">
                  <c:v>42241</c:v>
                </c:pt>
                <c:pt idx="1152">
                  <c:v>42242</c:v>
                </c:pt>
                <c:pt idx="1153">
                  <c:v>42243</c:v>
                </c:pt>
                <c:pt idx="1154">
                  <c:v>42244</c:v>
                </c:pt>
                <c:pt idx="1155">
                  <c:v>42247</c:v>
                </c:pt>
                <c:pt idx="1156">
                  <c:v>42248</c:v>
                </c:pt>
                <c:pt idx="1157">
                  <c:v>42249</c:v>
                </c:pt>
                <c:pt idx="1158">
                  <c:v>42250</c:v>
                </c:pt>
                <c:pt idx="1159">
                  <c:v>42251</c:v>
                </c:pt>
                <c:pt idx="1160">
                  <c:v>42254</c:v>
                </c:pt>
                <c:pt idx="1161">
                  <c:v>42255</c:v>
                </c:pt>
                <c:pt idx="1162">
                  <c:v>42256</c:v>
                </c:pt>
                <c:pt idx="1163">
                  <c:v>42257</c:v>
                </c:pt>
                <c:pt idx="1164">
                  <c:v>42258</c:v>
                </c:pt>
                <c:pt idx="1165">
                  <c:v>42261</c:v>
                </c:pt>
                <c:pt idx="1166">
                  <c:v>42262</c:v>
                </c:pt>
                <c:pt idx="1167">
                  <c:v>42263</c:v>
                </c:pt>
                <c:pt idx="1168">
                  <c:v>42264</c:v>
                </c:pt>
                <c:pt idx="1169">
                  <c:v>42265</c:v>
                </c:pt>
                <c:pt idx="1170">
                  <c:v>42268</c:v>
                </c:pt>
                <c:pt idx="1171">
                  <c:v>42269</c:v>
                </c:pt>
                <c:pt idx="1172">
                  <c:v>42270</c:v>
                </c:pt>
                <c:pt idx="1173">
                  <c:v>42271</c:v>
                </c:pt>
                <c:pt idx="1174">
                  <c:v>42272</c:v>
                </c:pt>
                <c:pt idx="1175">
                  <c:v>42275</c:v>
                </c:pt>
                <c:pt idx="1176">
                  <c:v>42276</c:v>
                </c:pt>
                <c:pt idx="1177">
                  <c:v>42277</c:v>
                </c:pt>
                <c:pt idx="1178">
                  <c:v>42278</c:v>
                </c:pt>
                <c:pt idx="1179">
                  <c:v>42279</c:v>
                </c:pt>
                <c:pt idx="1180">
                  <c:v>42282</c:v>
                </c:pt>
                <c:pt idx="1181">
                  <c:v>42283</c:v>
                </c:pt>
                <c:pt idx="1182">
                  <c:v>42284</c:v>
                </c:pt>
                <c:pt idx="1183">
                  <c:v>42285</c:v>
                </c:pt>
                <c:pt idx="1184">
                  <c:v>42286</c:v>
                </c:pt>
                <c:pt idx="1185">
                  <c:v>42289</c:v>
                </c:pt>
                <c:pt idx="1186">
                  <c:v>42290</c:v>
                </c:pt>
                <c:pt idx="1187">
                  <c:v>42291</c:v>
                </c:pt>
                <c:pt idx="1188">
                  <c:v>42292</c:v>
                </c:pt>
                <c:pt idx="1189">
                  <c:v>42293</c:v>
                </c:pt>
                <c:pt idx="1190">
                  <c:v>42296</c:v>
                </c:pt>
                <c:pt idx="1191">
                  <c:v>42297</c:v>
                </c:pt>
                <c:pt idx="1192">
                  <c:v>42298</c:v>
                </c:pt>
                <c:pt idx="1193">
                  <c:v>42299</c:v>
                </c:pt>
                <c:pt idx="1194">
                  <c:v>42300</c:v>
                </c:pt>
                <c:pt idx="1195">
                  <c:v>42303</c:v>
                </c:pt>
                <c:pt idx="1196">
                  <c:v>42304</c:v>
                </c:pt>
                <c:pt idx="1197">
                  <c:v>42305</c:v>
                </c:pt>
                <c:pt idx="1198">
                  <c:v>42306</c:v>
                </c:pt>
                <c:pt idx="1199">
                  <c:v>42307</c:v>
                </c:pt>
                <c:pt idx="1200">
                  <c:v>42310</c:v>
                </c:pt>
                <c:pt idx="1201">
                  <c:v>42311</c:v>
                </c:pt>
                <c:pt idx="1202">
                  <c:v>42312</c:v>
                </c:pt>
                <c:pt idx="1203">
                  <c:v>42313</c:v>
                </c:pt>
                <c:pt idx="1204">
                  <c:v>42314</c:v>
                </c:pt>
                <c:pt idx="1205">
                  <c:v>42317</c:v>
                </c:pt>
                <c:pt idx="1206">
                  <c:v>42318</c:v>
                </c:pt>
                <c:pt idx="1207">
                  <c:v>42319</c:v>
                </c:pt>
                <c:pt idx="1208">
                  <c:v>42320</c:v>
                </c:pt>
                <c:pt idx="1209">
                  <c:v>42321</c:v>
                </c:pt>
                <c:pt idx="1210">
                  <c:v>42324</c:v>
                </c:pt>
                <c:pt idx="1211">
                  <c:v>42325</c:v>
                </c:pt>
                <c:pt idx="1212">
                  <c:v>42326</c:v>
                </c:pt>
                <c:pt idx="1213">
                  <c:v>42327</c:v>
                </c:pt>
                <c:pt idx="1214">
                  <c:v>42328</c:v>
                </c:pt>
                <c:pt idx="1215">
                  <c:v>42331</c:v>
                </c:pt>
                <c:pt idx="1216">
                  <c:v>42332</c:v>
                </c:pt>
                <c:pt idx="1217">
                  <c:v>42333</c:v>
                </c:pt>
                <c:pt idx="1218">
                  <c:v>42334</c:v>
                </c:pt>
                <c:pt idx="1219">
                  <c:v>42335</c:v>
                </c:pt>
                <c:pt idx="1220">
                  <c:v>42338</c:v>
                </c:pt>
                <c:pt idx="1221">
                  <c:v>42339</c:v>
                </c:pt>
                <c:pt idx="1222">
                  <c:v>42340</c:v>
                </c:pt>
                <c:pt idx="1223">
                  <c:v>42341</c:v>
                </c:pt>
                <c:pt idx="1224">
                  <c:v>42342</c:v>
                </c:pt>
                <c:pt idx="1225">
                  <c:v>42345</c:v>
                </c:pt>
                <c:pt idx="1226">
                  <c:v>42346</c:v>
                </c:pt>
                <c:pt idx="1227">
                  <c:v>42347</c:v>
                </c:pt>
                <c:pt idx="1228">
                  <c:v>42348</c:v>
                </c:pt>
                <c:pt idx="1229">
                  <c:v>42349</c:v>
                </c:pt>
                <c:pt idx="1230">
                  <c:v>42352</c:v>
                </c:pt>
                <c:pt idx="1231">
                  <c:v>42353</c:v>
                </c:pt>
                <c:pt idx="1232">
                  <c:v>42354</c:v>
                </c:pt>
                <c:pt idx="1233">
                  <c:v>42355</c:v>
                </c:pt>
                <c:pt idx="1234">
                  <c:v>42356</c:v>
                </c:pt>
                <c:pt idx="1235">
                  <c:v>42359</c:v>
                </c:pt>
                <c:pt idx="1236">
                  <c:v>42360</c:v>
                </c:pt>
                <c:pt idx="1237">
                  <c:v>42361</c:v>
                </c:pt>
                <c:pt idx="1238">
                  <c:v>42362</c:v>
                </c:pt>
                <c:pt idx="1239">
                  <c:v>42366</c:v>
                </c:pt>
                <c:pt idx="1240">
                  <c:v>42367</c:v>
                </c:pt>
                <c:pt idx="1241">
                  <c:v>42368</c:v>
                </c:pt>
                <c:pt idx="1242">
                  <c:v>42369</c:v>
                </c:pt>
                <c:pt idx="1243">
                  <c:v>42373</c:v>
                </c:pt>
                <c:pt idx="1244">
                  <c:v>42374</c:v>
                </c:pt>
                <c:pt idx="1245">
                  <c:v>42375</c:v>
                </c:pt>
              </c:numCache>
            </c:numRef>
          </c:cat>
          <c:val>
            <c:numRef>
              <c:f>Sheet1!$C$2:$C$1247</c:f>
              <c:numCache>
                <c:formatCode>General</c:formatCode>
                <c:ptCount val="1246"/>
                <c:pt idx="0">
                  <c:v>100</c:v>
                </c:pt>
                <c:pt idx="1">
                  <c:v>99.251959810100004</c:v>
                </c:pt>
                <c:pt idx="2">
                  <c:v>99.039417025500001</c:v>
                </c:pt>
                <c:pt idx="3">
                  <c:v>100.055205918</c:v>
                </c:pt>
                <c:pt idx="4">
                  <c:v>99.828861653999994</c:v>
                </c:pt>
                <c:pt idx="5">
                  <c:v>99.144308269800007</c:v>
                </c:pt>
                <c:pt idx="6">
                  <c:v>99.282323065</c:v>
                </c:pt>
                <c:pt idx="7">
                  <c:v>99.224356851099998</c:v>
                </c:pt>
                <c:pt idx="8">
                  <c:v>97.305951198000002</c:v>
                </c:pt>
                <c:pt idx="9">
                  <c:v>97.397040962800006</c:v>
                </c:pt>
                <c:pt idx="10">
                  <c:v>96.328806448099996</c:v>
                </c:pt>
                <c:pt idx="11">
                  <c:v>94.037760848000005</c:v>
                </c:pt>
                <c:pt idx="12">
                  <c:v>93.2842000662</c:v>
                </c:pt>
                <c:pt idx="13">
                  <c:v>94.697471569000001</c:v>
                </c:pt>
                <c:pt idx="14">
                  <c:v>95.257811637399996</c:v>
                </c:pt>
                <c:pt idx="15">
                  <c:v>96.748371425399995</c:v>
                </c:pt>
                <c:pt idx="16">
                  <c:v>97.085127525700003</c:v>
                </c:pt>
                <c:pt idx="17">
                  <c:v>97.104449596999999</c:v>
                </c:pt>
                <c:pt idx="18">
                  <c:v>98.029148724699994</c:v>
                </c:pt>
                <c:pt idx="19">
                  <c:v>98.169923815800004</c:v>
                </c:pt>
                <c:pt idx="20">
                  <c:v>97.849729491000005</c:v>
                </c:pt>
                <c:pt idx="21">
                  <c:v>98.078834051000001</c:v>
                </c:pt>
                <c:pt idx="22">
                  <c:v>98.986971403300004</c:v>
                </c:pt>
                <c:pt idx="23">
                  <c:v>98.9179640057</c:v>
                </c:pt>
                <c:pt idx="24">
                  <c:v>99.378933421699998</c:v>
                </c:pt>
                <c:pt idx="25">
                  <c:v>99.729491001400007</c:v>
                </c:pt>
                <c:pt idx="26">
                  <c:v>99.561112951300004</c:v>
                </c:pt>
                <c:pt idx="27">
                  <c:v>99.950314673700007</c:v>
                </c:pt>
                <c:pt idx="28">
                  <c:v>99.682565971100004</c:v>
                </c:pt>
                <c:pt idx="29">
                  <c:v>100.184939826</c:v>
                </c:pt>
                <c:pt idx="30">
                  <c:v>99.980677928700004</c:v>
                </c:pt>
                <c:pt idx="31">
                  <c:v>98.904162526199997</c:v>
                </c:pt>
                <c:pt idx="32">
                  <c:v>99.287843656800007</c:v>
                </c:pt>
                <c:pt idx="33">
                  <c:v>99.147068565799998</c:v>
                </c:pt>
                <c:pt idx="34">
                  <c:v>99.240918626500005</c:v>
                </c:pt>
                <c:pt idx="35">
                  <c:v>97.722755879399998</c:v>
                </c:pt>
                <c:pt idx="36">
                  <c:v>98.258253284800006</c:v>
                </c:pt>
                <c:pt idx="37">
                  <c:v>100.193220713</c:v>
                </c:pt>
                <c:pt idx="38">
                  <c:v>101.03787126</c:v>
                </c:pt>
                <c:pt idx="39">
                  <c:v>101.460196533</c:v>
                </c:pt>
                <c:pt idx="40">
                  <c:v>101.80523352100001</c:v>
                </c:pt>
                <c:pt idx="41">
                  <c:v>102.84310478099999</c:v>
                </c:pt>
                <c:pt idx="42">
                  <c:v>103.138456443</c:v>
                </c:pt>
                <c:pt idx="43">
                  <c:v>103.403444849</c:v>
                </c:pt>
                <c:pt idx="44">
                  <c:v>102.774097383</c:v>
                </c:pt>
                <c:pt idx="45">
                  <c:v>101.959810092</c:v>
                </c:pt>
                <c:pt idx="46">
                  <c:v>100.83360936299999</c:v>
                </c:pt>
                <c:pt idx="47">
                  <c:v>101.123440433</c:v>
                </c:pt>
                <c:pt idx="48">
                  <c:v>100.73423871</c:v>
                </c:pt>
                <c:pt idx="49">
                  <c:v>101.672739318</c:v>
                </c:pt>
                <c:pt idx="50">
                  <c:v>101.068234515</c:v>
                </c:pt>
                <c:pt idx="51">
                  <c:v>100.593463619</c:v>
                </c:pt>
                <c:pt idx="52">
                  <c:v>100.041404439</c:v>
                </c:pt>
                <c:pt idx="53">
                  <c:v>99.5804350226</c:v>
                </c:pt>
                <c:pt idx="54">
                  <c:v>99.028375841900001</c:v>
                </c:pt>
                <c:pt idx="55">
                  <c:v>99.966876449200001</c:v>
                </c:pt>
                <c:pt idx="56">
                  <c:v>100.253947223</c:v>
                </c:pt>
                <c:pt idx="57">
                  <c:v>99.610798277599997</c:v>
                </c:pt>
                <c:pt idx="58">
                  <c:v>97.918736888599994</c:v>
                </c:pt>
                <c:pt idx="59">
                  <c:v>98.095395826399994</c:v>
                </c:pt>
                <c:pt idx="60">
                  <c:v>98.418350447199998</c:v>
                </c:pt>
                <c:pt idx="61">
                  <c:v>98.948327260699998</c:v>
                </c:pt>
                <c:pt idx="62">
                  <c:v>99.823341062200001</c:v>
                </c:pt>
                <c:pt idx="63">
                  <c:v>99.806779286700007</c:v>
                </c:pt>
                <c:pt idx="64">
                  <c:v>101.03787126</c:v>
                </c:pt>
                <c:pt idx="65">
                  <c:v>99.748813072800004</c:v>
                </c:pt>
                <c:pt idx="66">
                  <c:v>98.978690515599993</c:v>
                </c:pt>
                <c:pt idx="67">
                  <c:v>98.606050568599997</c:v>
                </c:pt>
                <c:pt idx="68">
                  <c:v>97.855250082799998</c:v>
                </c:pt>
                <c:pt idx="69">
                  <c:v>98.020867836999997</c:v>
                </c:pt>
                <c:pt idx="70">
                  <c:v>97.275587943000005</c:v>
                </c:pt>
                <c:pt idx="71">
                  <c:v>97.686872032699995</c:v>
                </c:pt>
                <c:pt idx="72">
                  <c:v>96.270840234100007</c:v>
                </c:pt>
                <c:pt idx="73">
                  <c:v>96.295682897199995</c:v>
                </c:pt>
                <c:pt idx="74">
                  <c:v>97.568179308799998</c:v>
                </c:pt>
                <c:pt idx="75">
                  <c:v>95.9782488683</c:v>
                </c:pt>
                <c:pt idx="76">
                  <c:v>95.175002760300004</c:v>
                </c:pt>
                <c:pt idx="77">
                  <c:v>95.685657502500007</c:v>
                </c:pt>
                <c:pt idx="78">
                  <c:v>95.7353428288</c:v>
                </c:pt>
                <c:pt idx="79">
                  <c:v>97.247984983999999</c:v>
                </c:pt>
                <c:pt idx="80">
                  <c:v>97.115490780599998</c:v>
                </c:pt>
                <c:pt idx="81">
                  <c:v>95.749144308300004</c:v>
                </c:pt>
                <c:pt idx="82">
                  <c:v>95.348901402199999</c:v>
                </c:pt>
                <c:pt idx="83">
                  <c:v>95.779507563199999</c:v>
                </c:pt>
                <c:pt idx="84">
                  <c:v>96.872584741099999</c:v>
                </c:pt>
                <c:pt idx="85">
                  <c:v>98.208567958499998</c:v>
                </c:pt>
                <c:pt idx="86">
                  <c:v>99.486584961899993</c:v>
                </c:pt>
                <c:pt idx="87">
                  <c:v>100.414044386</c:v>
                </c:pt>
                <c:pt idx="88">
                  <c:v>100.781163741</c:v>
                </c:pt>
                <c:pt idx="89">
                  <c:v>100.623826874</c:v>
                </c:pt>
                <c:pt idx="90">
                  <c:v>100.33123550800001</c:v>
                </c:pt>
                <c:pt idx="91">
                  <c:v>101.08203599399999</c:v>
                </c:pt>
                <c:pt idx="92">
                  <c:v>100.425085569</c:v>
                </c:pt>
                <c:pt idx="93">
                  <c:v>98.318979794599997</c:v>
                </c:pt>
                <c:pt idx="94">
                  <c:v>97.706194104000005</c:v>
                </c:pt>
                <c:pt idx="95">
                  <c:v>98.727503588399998</c:v>
                </c:pt>
                <c:pt idx="96">
                  <c:v>98.018107541099994</c:v>
                </c:pt>
                <c:pt idx="97">
                  <c:v>98.183725295399995</c:v>
                </c:pt>
                <c:pt idx="98">
                  <c:v>96.969195097699995</c:v>
                </c:pt>
                <c:pt idx="99">
                  <c:v>98.390747488100004</c:v>
                </c:pt>
                <c:pt idx="100">
                  <c:v>98.989731699199993</c:v>
                </c:pt>
                <c:pt idx="101">
                  <c:v>100.430606161</c:v>
                </c:pt>
                <c:pt idx="102">
                  <c:v>100.85017113799999</c:v>
                </c:pt>
                <c:pt idx="103">
                  <c:v>100.262228111</c:v>
                </c:pt>
                <c:pt idx="104">
                  <c:v>100.400242906</c:v>
                </c:pt>
                <c:pt idx="105">
                  <c:v>98.699900629300004</c:v>
                </c:pt>
                <c:pt idx="106">
                  <c:v>98.214088550300005</c:v>
                </c:pt>
                <c:pt idx="107">
                  <c:v>97.736557358900001</c:v>
                </c:pt>
                <c:pt idx="108">
                  <c:v>97.123771668299995</c:v>
                </c:pt>
                <c:pt idx="109">
                  <c:v>95.053549740500003</c:v>
                </c:pt>
                <c:pt idx="110">
                  <c:v>94.556696477900005</c:v>
                </c:pt>
                <c:pt idx="111">
                  <c:v>90.5432262339</c:v>
                </c:pt>
                <c:pt idx="112">
                  <c:v>89.419785801000003</c:v>
                </c:pt>
                <c:pt idx="113">
                  <c:v>84.923263773900004</c:v>
                </c:pt>
                <c:pt idx="114">
                  <c:v>87.208788782200003</c:v>
                </c:pt>
                <c:pt idx="115">
                  <c:v>84.730043060599996</c:v>
                </c:pt>
                <c:pt idx="116">
                  <c:v>87.357844760999996</c:v>
                </c:pt>
                <c:pt idx="117">
                  <c:v>88.4564425306</c:v>
                </c:pt>
                <c:pt idx="118">
                  <c:v>90.264436347599997</c:v>
                </c:pt>
                <c:pt idx="119">
                  <c:v>89.668212432399997</c:v>
                </c:pt>
                <c:pt idx="120">
                  <c:v>89.9801258695</c:v>
                </c:pt>
                <c:pt idx="121">
                  <c:v>86.099149828899996</c:v>
                </c:pt>
                <c:pt idx="122">
                  <c:v>84.859776968099993</c:v>
                </c:pt>
                <c:pt idx="123">
                  <c:v>84.804571050000007</c:v>
                </c:pt>
                <c:pt idx="124">
                  <c:v>86.758860549900007</c:v>
                </c:pt>
                <c:pt idx="125">
                  <c:v>87.534503698799995</c:v>
                </c:pt>
                <c:pt idx="126">
                  <c:v>86.562879540699996</c:v>
                </c:pt>
                <c:pt idx="127">
                  <c:v>87.167384343600006</c:v>
                </c:pt>
                <c:pt idx="128">
                  <c:v>89.240366567300001</c:v>
                </c:pt>
                <c:pt idx="129">
                  <c:v>89.646130065099996</c:v>
                </c:pt>
                <c:pt idx="130">
                  <c:v>90.802694048800006</c:v>
                </c:pt>
                <c:pt idx="131">
                  <c:v>90.242353980299995</c:v>
                </c:pt>
                <c:pt idx="132">
                  <c:v>88.177652644399998</c:v>
                </c:pt>
                <c:pt idx="133">
                  <c:v>86.526995693900005</c:v>
                </c:pt>
                <c:pt idx="134">
                  <c:v>85.629899525200003</c:v>
                </c:pt>
                <c:pt idx="135">
                  <c:v>87.981671635200001</c:v>
                </c:pt>
                <c:pt idx="136">
                  <c:v>87.711162636599994</c:v>
                </c:pt>
                <c:pt idx="137">
                  <c:v>85.138566854399997</c:v>
                </c:pt>
                <c:pt idx="138">
                  <c:v>84.197305951199994</c:v>
                </c:pt>
                <c:pt idx="139">
                  <c:v>85.0861212322</c:v>
                </c:pt>
                <c:pt idx="140">
                  <c:v>85.834161422099996</c:v>
                </c:pt>
                <c:pt idx="141">
                  <c:v>87.664237606300006</c:v>
                </c:pt>
                <c:pt idx="142">
                  <c:v>88.183173236200005</c:v>
                </c:pt>
                <c:pt idx="143">
                  <c:v>86.725736999000006</c:v>
                </c:pt>
                <c:pt idx="144">
                  <c:v>87.103897537799995</c:v>
                </c:pt>
                <c:pt idx="145">
                  <c:v>85.304184608599996</c:v>
                </c:pt>
                <c:pt idx="146">
                  <c:v>81.732361709200006</c:v>
                </c:pt>
                <c:pt idx="147">
                  <c:v>82.121563431599995</c:v>
                </c:pt>
                <c:pt idx="148">
                  <c:v>83.129071436499999</c:v>
                </c:pt>
                <c:pt idx="149">
                  <c:v>85.494645025899999</c:v>
                </c:pt>
                <c:pt idx="150">
                  <c:v>84.324279562800001</c:v>
                </c:pt>
                <c:pt idx="151">
                  <c:v>84.857016672200004</c:v>
                </c:pt>
                <c:pt idx="152">
                  <c:v>82.938611019099994</c:v>
                </c:pt>
                <c:pt idx="153">
                  <c:v>80.735894887900002</c:v>
                </c:pt>
                <c:pt idx="154">
                  <c:v>80.6337639395</c:v>
                </c:pt>
                <c:pt idx="155">
                  <c:v>82.240256155500006</c:v>
                </c:pt>
                <c:pt idx="156">
                  <c:v>84.338081042300004</c:v>
                </c:pt>
                <c:pt idx="157">
                  <c:v>84.572706194099993</c:v>
                </c:pt>
                <c:pt idx="158">
                  <c:v>86.811306172000002</c:v>
                </c:pt>
                <c:pt idx="159">
                  <c:v>87.034890140200005</c:v>
                </c:pt>
                <c:pt idx="160">
                  <c:v>88.265982113299998</c:v>
                </c:pt>
                <c:pt idx="161">
                  <c:v>87.821574472799995</c:v>
                </c:pt>
                <c:pt idx="162">
                  <c:v>89.044385558100004</c:v>
                </c:pt>
                <c:pt idx="163">
                  <c:v>88.020315777899995</c:v>
                </c:pt>
                <c:pt idx="164">
                  <c:v>88.346030694500001</c:v>
                </c:pt>
                <c:pt idx="165">
                  <c:v>88.205255603400005</c:v>
                </c:pt>
                <c:pt idx="166">
                  <c:v>87.545544882399994</c:v>
                </c:pt>
                <c:pt idx="167">
                  <c:v>89.577122667500007</c:v>
                </c:pt>
                <c:pt idx="168">
                  <c:v>90.924147068600007</c:v>
                </c:pt>
                <c:pt idx="169">
                  <c:v>89.764822788999993</c:v>
                </c:pt>
                <c:pt idx="170">
                  <c:v>90.073975930200007</c:v>
                </c:pt>
                <c:pt idx="171">
                  <c:v>93.866622501899997</c:v>
                </c:pt>
                <c:pt idx="172">
                  <c:v>94.139891796399993</c:v>
                </c:pt>
                <c:pt idx="173">
                  <c:v>91.357513525399995</c:v>
                </c:pt>
                <c:pt idx="174">
                  <c:v>88.161090868900004</c:v>
                </c:pt>
                <c:pt idx="175">
                  <c:v>89.259688638599997</c:v>
                </c:pt>
                <c:pt idx="176">
                  <c:v>90.523904162500003</c:v>
                </c:pt>
                <c:pt idx="177">
                  <c:v>90.297559898399996</c:v>
                </c:pt>
                <c:pt idx="178">
                  <c:v>90.441095285399996</c:v>
                </c:pt>
                <c:pt idx="179">
                  <c:v>91.2167384344</c:v>
                </c:pt>
                <c:pt idx="180">
                  <c:v>88.699348570200002</c:v>
                </c:pt>
                <c:pt idx="181">
                  <c:v>88.506127856899994</c:v>
                </c:pt>
                <c:pt idx="182">
                  <c:v>90.490780611700004</c:v>
                </c:pt>
                <c:pt idx="183">
                  <c:v>89.726178646400001</c:v>
                </c:pt>
                <c:pt idx="184">
                  <c:v>89.436347576499998</c:v>
                </c:pt>
                <c:pt idx="185">
                  <c:v>88.566854366800001</c:v>
                </c:pt>
                <c:pt idx="186">
                  <c:v>87.388208015900005</c:v>
                </c:pt>
                <c:pt idx="187">
                  <c:v>86.957601854900005</c:v>
                </c:pt>
                <c:pt idx="188">
                  <c:v>85.011593242800004</c:v>
                </c:pt>
                <c:pt idx="189">
                  <c:v>84.738323948300007</c:v>
                </c:pt>
                <c:pt idx="190">
                  <c:v>82.933090427300002</c:v>
                </c:pt>
                <c:pt idx="191">
                  <c:v>82.717787346799994</c:v>
                </c:pt>
                <c:pt idx="192">
                  <c:v>82.546649000800002</c:v>
                </c:pt>
                <c:pt idx="193">
                  <c:v>85.138566854399997</c:v>
                </c:pt>
                <c:pt idx="194">
                  <c:v>85.7265098819</c:v>
                </c:pt>
                <c:pt idx="195">
                  <c:v>88.983659048199996</c:v>
                </c:pt>
                <c:pt idx="196">
                  <c:v>89.063707629500001</c:v>
                </c:pt>
                <c:pt idx="197">
                  <c:v>89.295572485400001</c:v>
                </c:pt>
                <c:pt idx="198">
                  <c:v>90.178867174600001</c:v>
                </c:pt>
                <c:pt idx="199">
                  <c:v>89.723418350399996</c:v>
                </c:pt>
                <c:pt idx="200">
                  <c:v>90.027050899900004</c:v>
                </c:pt>
                <c:pt idx="201">
                  <c:v>88.348790990400005</c:v>
                </c:pt>
                <c:pt idx="202">
                  <c:v>89.243126863200004</c:v>
                </c:pt>
                <c:pt idx="203">
                  <c:v>87.879540686799999</c:v>
                </c:pt>
                <c:pt idx="204">
                  <c:v>87.150822568199999</c:v>
                </c:pt>
                <c:pt idx="205">
                  <c:v>85.643701004700006</c:v>
                </c:pt>
                <c:pt idx="206">
                  <c:v>85.905929115600003</c:v>
                </c:pt>
                <c:pt idx="207">
                  <c:v>86.173677818300007</c:v>
                </c:pt>
                <c:pt idx="208">
                  <c:v>85.331787567600003</c:v>
                </c:pt>
                <c:pt idx="209">
                  <c:v>87.448934525799999</c:v>
                </c:pt>
                <c:pt idx="210">
                  <c:v>87.487578668400005</c:v>
                </c:pt>
                <c:pt idx="211">
                  <c:v>88.166611460699997</c:v>
                </c:pt>
                <c:pt idx="212">
                  <c:v>88.818041293999997</c:v>
                </c:pt>
                <c:pt idx="213">
                  <c:v>88.928453130199998</c:v>
                </c:pt>
                <c:pt idx="214">
                  <c:v>87.791211217799997</c:v>
                </c:pt>
                <c:pt idx="215">
                  <c:v>88.475764601999998</c:v>
                </c:pt>
                <c:pt idx="216">
                  <c:v>88.892569283399993</c:v>
                </c:pt>
                <c:pt idx="217">
                  <c:v>89.154797394300004</c:v>
                </c:pt>
                <c:pt idx="218">
                  <c:v>90.664679253599999</c:v>
                </c:pt>
                <c:pt idx="219">
                  <c:v>90.4769791322</c:v>
                </c:pt>
                <c:pt idx="220">
                  <c:v>89.952522910499994</c:v>
                </c:pt>
                <c:pt idx="221">
                  <c:v>89.5495197085</c:v>
                </c:pt>
                <c:pt idx="222">
                  <c:v>89.621287401999993</c:v>
                </c:pt>
                <c:pt idx="223">
                  <c:v>90.753008722499999</c:v>
                </c:pt>
                <c:pt idx="224">
                  <c:v>90.526664458400006</c:v>
                </c:pt>
                <c:pt idx="225">
                  <c:v>90.777851385700004</c:v>
                </c:pt>
                <c:pt idx="226">
                  <c:v>90.327923153399993</c:v>
                </c:pt>
                <c:pt idx="227">
                  <c:v>90.4217732141</c:v>
                </c:pt>
                <c:pt idx="228">
                  <c:v>91.158772220399996</c:v>
                </c:pt>
                <c:pt idx="229">
                  <c:v>91.934415369299998</c:v>
                </c:pt>
                <c:pt idx="230">
                  <c:v>92.759743844499994</c:v>
                </c:pt>
                <c:pt idx="231">
                  <c:v>92.986088108600001</c:v>
                </c:pt>
                <c:pt idx="232">
                  <c:v>93.516064922200002</c:v>
                </c:pt>
                <c:pt idx="233">
                  <c:v>93.068896985799995</c:v>
                </c:pt>
                <c:pt idx="234">
                  <c:v>93.543667881199994</c:v>
                </c:pt>
                <c:pt idx="235">
                  <c:v>94.148172684100004</c:v>
                </c:pt>
                <c:pt idx="236">
                  <c:v>93.833498951099997</c:v>
                </c:pt>
                <c:pt idx="237">
                  <c:v>93.264877994900004</c:v>
                </c:pt>
                <c:pt idx="238">
                  <c:v>93.449817820500002</c:v>
                </c:pt>
                <c:pt idx="239">
                  <c:v>94.714033344399994</c:v>
                </c:pt>
                <c:pt idx="240">
                  <c:v>94.932096720800004</c:v>
                </c:pt>
                <c:pt idx="241">
                  <c:v>95.939604725600006</c:v>
                </c:pt>
                <c:pt idx="242">
                  <c:v>95.923042950199999</c:v>
                </c:pt>
                <c:pt idx="243">
                  <c:v>96.290162305400003</c:v>
                </c:pt>
                <c:pt idx="244">
                  <c:v>96.555150712200003</c:v>
                </c:pt>
                <c:pt idx="245">
                  <c:v>96.775974384500003</c:v>
                </c:pt>
                <c:pt idx="246">
                  <c:v>95.666335431199997</c:v>
                </c:pt>
                <c:pt idx="247">
                  <c:v>96.392293253800005</c:v>
                </c:pt>
                <c:pt idx="248">
                  <c:v>95.989290051899999</c:v>
                </c:pt>
                <c:pt idx="249">
                  <c:v>96.130065142999996</c:v>
                </c:pt>
                <c:pt idx="250">
                  <c:v>96.502705090000006</c:v>
                </c:pt>
                <c:pt idx="251">
                  <c:v>97.132052556000005</c:v>
                </c:pt>
                <c:pt idx="252">
                  <c:v>97.802804460600001</c:v>
                </c:pt>
                <c:pt idx="253">
                  <c:v>97.642707298199994</c:v>
                </c:pt>
                <c:pt idx="254">
                  <c:v>97.247984983999999</c:v>
                </c:pt>
                <c:pt idx="255">
                  <c:v>97.628905818700005</c:v>
                </c:pt>
                <c:pt idx="256">
                  <c:v>98.131279673199998</c:v>
                </c:pt>
                <c:pt idx="257">
                  <c:v>97.973942806699995</c:v>
                </c:pt>
                <c:pt idx="258">
                  <c:v>98.385226896299997</c:v>
                </c:pt>
                <c:pt idx="259">
                  <c:v>98.076073755099998</c:v>
                </c:pt>
                <c:pt idx="260">
                  <c:v>98.484597548899998</c:v>
                </c:pt>
                <c:pt idx="261">
                  <c:v>98.065032571499998</c:v>
                </c:pt>
                <c:pt idx="262">
                  <c:v>97.579220492399998</c:v>
                </c:pt>
                <c:pt idx="263">
                  <c:v>95.578005962199995</c:v>
                </c:pt>
                <c:pt idx="264">
                  <c:v>95.983769460100007</c:v>
                </c:pt>
                <c:pt idx="265">
                  <c:v>97.496411615300005</c:v>
                </c:pt>
                <c:pt idx="266">
                  <c:v>97.609583747399995</c:v>
                </c:pt>
                <c:pt idx="267">
                  <c:v>97.457767472699999</c:v>
                </c:pt>
                <c:pt idx="268">
                  <c:v>98.876559567200005</c:v>
                </c:pt>
                <c:pt idx="269">
                  <c:v>98.672297670299997</c:v>
                </c:pt>
                <c:pt idx="270">
                  <c:v>99.329248095400004</c:v>
                </c:pt>
                <c:pt idx="271">
                  <c:v>99.820580766299997</c:v>
                </c:pt>
                <c:pt idx="272">
                  <c:v>100.160097162</c:v>
                </c:pt>
                <c:pt idx="273">
                  <c:v>99.472783482400004</c:v>
                </c:pt>
                <c:pt idx="274">
                  <c:v>99.158109749399998</c:v>
                </c:pt>
                <c:pt idx="275">
                  <c:v>98.586728497300001</c:v>
                </c:pt>
                <c:pt idx="276">
                  <c:v>98.871038975399998</c:v>
                </c:pt>
                <c:pt idx="277">
                  <c:v>99.980677928700004</c:v>
                </c:pt>
                <c:pt idx="278">
                  <c:v>99.947554377800003</c:v>
                </c:pt>
                <c:pt idx="279">
                  <c:v>99.304405432300001</c:v>
                </c:pt>
                <c:pt idx="280">
                  <c:v>98.766147731000004</c:v>
                </c:pt>
                <c:pt idx="281">
                  <c:v>99.279562769099996</c:v>
                </c:pt>
                <c:pt idx="282">
                  <c:v>100.190460417</c:v>
                </c:pt>
                <c:pt idx="283">
                  <c:v>99.668764491600001</c:v>
                </c:pt>
                <c:pt idx="284">
                  <c:v>97.764160317999995</c:v>
                </c:pt>
                <c:pt idx="285">
                  <c:v>97.653748481799994</c:v>
                </c:pt>
                <c:pt idx="286">
                  <c:v>95.387545544899993</c:v>
                </c:pt>
                <c:pt idx="287">
                  <c:v>95.906481174800007</c:v>
                </c:pt>
                <c:pt idx="288">
                  <c:v>97.247984983999999</c:v>
                </c:pt>
                <c:pt idx="289">
                  <c:v>96.102462183900002</c:v>
                </c:pt>
                <c:pt idx="290">
                  <c:v>96.011372419099999</c:v>
                </c:pt>
                <c:pt idx="291">
                  <c:v>97.496411615300005</c:v>
                </c:pt>
                <c:pt idx="292">
                  <c:v>97.303190902099999</c:v>
                </c:pt>
                <c:pt idx="293">
                  <c:v>96.864303853400003</c:v>
                </c:pt>
                <c:pt idx="294">
                  <c:v>97.165176106900006</c:v>
                </c:pt>
                <c:pt idx="295">
                  <c:v>95.856795848499999</c:v>
                </c:pt>
                <c:pt idx="296">
                  <c:v>96.425416804700006</c:v>
                </c:pt>
                <c:pt idx="297">
                  <c:v>97.468808656299998</c:v>
                </c:pt>
                <c:pt idx="298">
                  <c:v>98.076073755099998</c:v>
                </c:pt>
                <c:pt idx="299">
                  <c:v>98.495638732499998</c:v>
                </c:pt>
                <c:pt idx="300">
                  <c:v>98.192006183100006</c:v>
                </c:pt>
                <c:pt idx="301">
                  <c:v>98.385226896299997</c:v>
                </c:pt>
                <c:pt idx="302">
                  <c:v>97.998785469799998</c:v>
                </c:pt>
                <c:pt idx="303">
                  <c:v>97.493651319400001</c:v>
                </c:pt>
                <c:pt idx="304">
                  <c:v>96.066578337199999</c:v>
                </c:pt>
                <c:pt idx="305">
                  <c:v>95.732582532799995</c:v>
                </c:pt>
                <c:pt idx="306">
                  <c:v>94.967980567500007</c:v>
                </c:pt>
                <c:pt idx="307">
                  <c:v>94.266865408000001</c:v>
                </c:pt>
                <c:pt idx="308">
                  <c:v>94.636745059099994</c:v>
                </c:pt>
                <c:pt idx="309">
                  <c:v>94.435243458100004</c:v>
                </c:pt>
                <c:pt idx="310">
                  <c:v>93.090979352999994</c:v>
                </c:pt>
                <c:pt idx="311">
                  <c:v>92.315336204000005</c:v>
                </c:pt>
                <c:pt idx="312">
                  <c:v>91.605940156800003</c:v>
                </c:pt>
                <c:pt idx="313">
                  <c:v>90.678480733100002</c:v>
                </c:pt>
                <c:pt idx="314">
                  <c:v>89.662691840600004</c:v>
                </c:pt>
                <c:pt idx="315">
                  <c:v>90.664679253599999</c:v>
                </c:pt>
                <c:pt idx="316">
                  <c:v>91.335431158199995</c:v>
                </c:pt>
                <c:pt idx="317">
                  <c:v>90.347245224700004</c:v>
                </c:pt>
                <c:pt idx="318">
                  <c:v>90.650877774099996</c:v>
                </c:pt>
                <c:pt idx="319">
                  <c:v>90.419012918199996</c:v>
                </c:pt>
                <c:pt idx="320">
                  <c:v>90.5542674175</c:v>
                </c:pt>
                <c:pt idx="321">
                  <c:v>91.459644473899999</c:v>
                </c:pt>
                <c:pt idx="322">
                  <c:v>89.9690846859</c:v>
                </c:pt>
                <c:pt idx="323">
                  <c:v>89.687534503699993</c:v>
                </c:pt>
                <c:pt idx="324">
                  <c:v>87.854698023599994</c:v>
                </c:pt>
                <c:pt idx="325">
                  <c:v>87.686319973500005</c:v>
                </c:pt>
                <c:pt idx="326">
                  <c:v>88.221817378799997</c:v>
                </c:pt>
                <c:pt idx="327">
                  <c:v>90.173346582799994</c:v>
                </c:pt>
                <c:pt idx="328">
                  <c:v>90.744727834800003</c:v>
                </c:pt>
                <c:pt idx="329">
                  <c:v>90.5653086011</c:v>
                </c:pt>
                <c:pt idx="330">
                  <c:v>90.275477531199996</c:v>
                </c:pt>
                <c:pt idx="331">
                  <c:v>90.816495528299995</c:v>
                </c:pt>
                <c:pt idx="332">
                  <c:v>90.7198851717</c:v>
                </c:pt>
                <c:pt idx="333">
                  <c:v>91.142210445000003</c:v>
                </c:pt>
                <c:pt idx="334">
                  <c:v>92.116594899000006</c:v>
                </c:pt>
                <c:pt idx="335">
                  <c:v>92.389864193400001</c:v>
                </c:pt>
                <c:pt idx="336">
                  <c:v>93.521585513999995</c:v>
                </c:pt>
                <c:pt idx="337">
                  <c:v>93.750690074000005</c:v>
                </c:pt>
                <c:pt idx="338">
                  <c:v>92.066909572699998</c:v>
                </c:pt>
                <c:pt idx="339">
                  <c:v>91.945456552899998</c:v>
                </c:pt>
                <c:pt idx="340">
                  <c:v>90.626035110999993</c:v>
                </c:pt>
                <c:pt idx="341">
                  <c:v>90.777851385700004</c:v>
                </c:pt>
                <c:pt idx="342">
                  <c:v>91.647344595299998</c:v>
                </c:pt>
                <c:pt idx="343">
                  <c:v>91.514850392</c:v>
                </c:pt>
                <c:pt idx="344">
                  <c:v>94.253063928499998</c:v>
                </c:pt>
                <c:pt idx="345">
                  <c:v>94.614662691800007</c:v>
                </c:pt>
                <c:pt idx="346">
                  <c:v>95.456552942499997</c:v>
                </c:pt>
                <c:pt idx="347">
                  <c:v>95.359942585799999</c:v>
                </c:pt>
                <c:pt idx="348">
                  <c:v>94.769239262400006</c:v>
                </c:pt>
                <c:pt idx="349">
                  <c:v>93.8031356961</c:v>
                </c:pt>
                <c:pt idx="350">
                  <c:v>93.386331014700005</c:v>
                </c:pt>
                <c:pt idx="351">
                  <c:v>93.008170475900002</c:v>
                </c:pt>
                <c:pt idx="352">
                  <c:v>92.997129292300002</c:v>
                </c:pt>
                <c:pt idx="353">
                  <c:v>92.124875786700002</c:v>
                </c:pt>
                <c:pt idx="354">
                  <c:v>93.491222258999997</c:v>
                </c:pt>
                <c:pt idx="355">
                  <c:v>93.496742850800004</c:v>
                </c:pt>
                <c:pt idx="356">
                  <c:v>93.767251849399997</c:v>
                </c:pt>
                <c:pt idx="357">
                  <c:v>94.498730263900001</c:v>
                </c:pt>
                <c:pt idx="358">
                  <c:v>95.202605719299996</c:v>
                </c:pt>
                <c:pt idx="359">
                  <c:v>93.960472562700005</c:v>
                </c:pt>
                <c:pt idx="360">
                  <c:v>92.428508336099995</c:v>
                </c:pt>
                <c:pt idx="361">
                  <c:v>91.757756431499999</c:v>
                </c:pt>
                <c:pt idx="362">
                  <c:v>91.655625483099996</c:v>
                </c:pt>
                <c:pt idx="363">
                  <c:v>93.6485591255</c:v>
                </c:pt>
                <c:pt idx="364">
                  <c:v>95.337860218599999</c:v>
                </c:pt>
                <c:pt idx="365">
                  <c:v>95.655294247499995</c:v>
                </c:pt>
                <c:pt idx="366">
                  <c:v>95.428949983400003</c:v>
                </c:pt>
                <c:pt idx="367">
                  <c:v>95.244010157899993</c:v>
                </c:pt>
                <c:pt idx="368">
                  <c:v>94.2447830407</c:v>
                </c:pt>
                <c:pt idx="369">
                  <c:v>96.083140112600006</c:v>
                </c:pt>
                <c:pt idx="370">
                  <c:v>96.7732140886</c:v>
                </c:pt>
                <c:pt idx="371">
                  <c:v>97.413602738199998</c:v>
                </c:pt>
                <c:pt idx="372">
                  <c:v>97.438445401300001</c:v>
                </c:pt>
                <c:pt idx="373">
                  <c:v>97.584741084200004</c:v>
                </c:pt>
                <c:pt idx="374">
                  <c:v>97.606823451500006</c:v>
                </c:pt>
                <c:pt idx="375">
                  <c:v>97.457767472699999</c:v>
                </c:pt>
                <c:pt idx="376">
                  <c:v>97.576460196499994</c:v>
                </c:pt>
                <c:pt idx="377">
                  <c:v>97.529535166200006</c:v>
                </c:pt>
                <c:pt idx="378">
                  <c:v>98.357623937300005</c:v>
                </c:pt>
                <c:pt idx="379">
                  <c:v>98.564646130100002</c:v>
                </c:pt>
                <c:pt idx="380">
                  <c:v>98.548084354599993</c:v>
                </c:pt>
                <c:pt idx="381">
                  <c:v>98.854477200000005</c:v>
                </c:pt>
                <c:pt idx="382">
                  <c:v>98.421110743100002</c:v>
                </c:pt>
                <c:pt idx="383">
                  <c:v>98.272054764299995</c:v>
                </c:pt>
                <c:pt idx="384">
                  <c:v>98.280335652000005</c:v>
                </c:pt>
                <c:pt idx="385">
                  <c:v>98.343822457800002</c:v>
                </c:pt>
                <c:pt idx="386">
                  <c:v>98.156122336300001</c:v>
                </c:pt>
                <c:pt idx="387">
                  <c:v>98.098156122299997</c:v>
                </c:pt>
                <c:pt idx="388">
                  <c:v>97.253505575800006</c:v>
                </c:pt>
                <c:pt idx="389">
                  <c:v>97.794523572900005</c:v>
                </c:pt>
                <c:pt idx="390">
                  <c:v>97.927017776300005</c:v>
                </c:pt>
                <c:pt idx="391">
                  <c:v>97.452246880900006</c:v>
                </c:pt>
                <c:pt idx="392">
                  <c:v>97.341835044700005</c:v>
                </c:pt>
                <c:pt idx="393">
                  <c:v>99.171911228900001</c:v>
                </c:pt>
                <c:pt idx="394">
                  <c:v>100.328475213</c:v>
                </c:pt>
                <c:pt idx="395">
                  <c:v>99.9116705311</c:v>
                </c:pt>
                <c:pt idx="396">
                  <c:v>100.317434029</c:v>
                </c:pt>
                <c:pt idx="397">
                  <c:v>100.73147841399999</c:v>
                </c:pt>
                <c:pt idx="398">
                  <c:v>101.66997902200001</c:v>
                </c:pt>
                <c:pt idx="399">
                  <c:v>103.08325052399999</c:v>
                </c:pt>
                <c:pt idx="400">
                  <c:v>102.683007618</c:v>
                </c:pt>
                <c:pt idx="401">
                  <c:v>102.296566192</c:v>
                </c:pt>
                <c:pt idx="402">
                  <c:v>102.647123772</c:v>
                </c:pt>
                <c:pt idx="403">
                  <c:v>102.111626366</c:v>
                </c:pt>
                <c:pt idx="404">
                  <c:v>102.406978028</c:v>
                </c:pt>
                <c:pt idx="405">
                  <c:v>101.951529204</c:v>
                </c:pt>
                <c:pt idx="406">
                  <c:v>101.66169813400001</c:v>
                </c:pt>
                <c:pt idx="407">
                  <c:v>100.367119355</c:v>
                </c:pt>
                <c:pt idx="408">
                  <c:v>101.19244783000001</c:v>
                </c:pt>
                <c:pt idx="409">
                  <c:v>100.510654742</c:v>
                </c:pt>
                <c:pt idx="410">
                  <c:v>101.076515402</c:v>
                </c:pt>
                <c:pt idx="411">
                  <c:v>101.12068013699999</c:v>
                </c:pt>
                <c:pt idx="412">
                  <c:v>101.073755107</c:v>
                </c:pt>
                <c:pt idx="413">
                  <c:v>101.860439439</c:v>
                </c:pt>
                <c:pt idx="414">
                  <c:v>102.313127967</c:v>
                </c:pt>
                <c:pt idx="415">
                  <c:v>101.667218726</c:v>
                </c:pt>
                <c:pt idx="416">
                  <c:v>100.698354864</c:v>
                </c:pt>
                <c:pt idx="417">
                  <c:v>100.057966214</c:v>
                </c:pt>
                <c:pt idx="418">
                  <c:v>100.35055758</c:v>
                </c:pt>
                <c:pt idx="419">
                  <c:v>100.15457657100001</c:v>
                </c:pt>
                <c:pt idx="420">
                  <c:v>100.65695042500001</c:v>
                </c:pt>
                <c:pt idx="421">
                  <c:v>101.926686541</c:v>
                </c:pt>
                <c:pt idx="422">
                  <c:v>102.727172353</c:v>
                </c:pt>
                <c:pt idx="423">
                  <c:v>102.74649442400001</c:v>
                </c:pt>
                <c:pt idx="424">
                  <c:v>101.465717125</c:v>
                </c:pt>
                <c:pt idx="425">
                  <c:v>101.360825881</c:v>
                </c:pt>
                <c:pt idx="426">
                  <c:v>99.7902175113</c:v>
                </c:pt>
                <c:pt idx="427">
                  <c:v>99.707408634199993</c:v>
                </c:pt>
                <c:pt idx="428">
                  <c:v>100.024842663</c:v>
                </c:pt>
                <c:pt idx="429">
                  <c:v>99.806779286700007</c:v>
                </c:pt>
                <c:pt idx="430">
                  <c:v>99.547311471800001</c:v>
                </c:pt>
                <c:pt idx="431">
                  <c:v>99.955835265499999</c:v>
                </c:pt>
                <c:pt idx="432">
                  <c:v>99.925472010600004</c:v>
                </c:pt>
                <c:pt idx="433">
                  <c:v>100.78392403700001</c:v>
                </c:pt>
                <c:pt idx="434">
                  <c:v>100.267748703</c:v>
                </c:pt>
                <c:pt idx="435">
                  <c:v>100.063486806</c:v>
                </c:pt>
                <c:pt idx="436">
                  <c:v>100.65695042500001</c:v>
                </c:pt>
                <c:pt idx="437">
                  <c:v>99.064259688600004</c:v>
                </c:pt>
                <c:pt idx="438">
                  <c:v>98.117478193699995</c:v>
                </c:pt>
                <c:pt idx="439">
                  <c:v>98.076073755099998</c:v>
                </c:pt>
                <c:pt idx="440">
                  <c:v>97.938058959900005</c:v>
                </c:pt>
                <c:pt idx="441">
                  <c:v>97.753119134399995</c:v>
                </c:pt>
                <c:pt idx="442">
                  <c:v>96.676603731900002</c:v>
                </c:pt>
                <c:pt idx="443">
                  <c:v>96.417135916999996</c:v>
                </c:pt>
                <c:pt idx="444">
                  <c:v>96.378491774300002</c:v>
                </c:pt>
                <c:pt idx="445">
                  <c:v>98.481837252999995</c:v>
                </c:pt>
                <c:pt idx="446">
                  <c:v>98.526001987399994</c:v>
                </c:pt>
                <c:pt idx="447">
                  <c:v>98.7633874351</c:v>
                </c:pt>
                <c:pt idx="448">
                  <c:v>99.265761289599993</c:v>
                </c:pt>
                <c:pt idx="449">
                  <c:v>100.356078172</c:v>
                </c:pt>
                <c:pt idx="450">
                  <c:v>100.19598100899999</c:v>
                </c:pt>
                <c:pt idx="451">
                  <c:v>99.964116153299997</c:v>
                </c:pt>
                <c:pt idx="452">
                  <c:v>100.27602958999999</c:v>
                </c:pt>
                <c:pt idx="453">
                  <c:v>101.140002208</c:v>
                </c:pt>
                <c:pt idx="454">
                  <c:v>101.167605167</c:v>
                </c:pt>
                <c:pt idx="455">
                  <c:v>101.11239924900001</c:v>
                </c:pt>
                <c:pt idx="456">
                  <c:v>101.104118361</c:v>
                </c:pt>
                <c:pt idx="457">
                  <c:v>101.23937286100001</c:v>
                </c:pt>
                <c:pt idx="458">
                  <c:v>101.520923043</c:v>
                </c:pt>
                <c:pt idx="459">
                  <c:v>101.64513635900001</c:v>
                </c:pt>
                <c:pt idx="460">
                  <c:v>101.73622612299999</c:v>
                </c:pt>
                <c:pt idx="461">
                  <c:v>102.346251518</c:v>
                </c:pt>
                <c:pt idx="462">
                  <c:v>102.542232527</c:v>
                </c:pt>
                <c:pt idx="463">
                  <c:v>102.227558794</c:v>
                </c:pt>
                <c:pt idx="464">
                  <c:v>102.07574252000001</c:v>
                </c:pt>
                <c:pt idx="465">
                  <c:v>102.807220934</c:v>
                </c:pt>
                <c:pt idx="466">
                  <c:v>103.76780390899999</c:v>
                </c:pt>
                <c:pt idx="467">
                  <c:v>103.88925692799999</c:v>
                </c:pt>
                <c:pt idx="468">
                  <c:v>104.121121784</c:v>
                </c:pt>
                <c:pt idx="469">
                  <c:v>103.317875676</c:v>
                </c:pt>
                <c:pt idx="470">
                  <c:v>103.10533289200001</c:v>
                </c:pt>
                <c:pt idx="471">
                  <c:v>103.005962239</c:v>
                </c:pt>
                <c:pt idx="472">
                  <c:v>102.31588826300001</c:v>
                </c:pt>
                <c:pt idx="473">
                  <c:v>103.166059402</c:v>
                </c:pt>
                <c:pt idx="474">
                  <c:v>105.37981671599999</c:v>
                </c:pt>
                <c:pt idx="475">
                  <c:v>105.172794524</c:v>
                </c:pt>
                <c:pt idx="476">
                  <c:v>105.595119797</c:v>
                </c:pt>
                <c:pt idx="477">
                  <c:v>105.368775533</c:v>
                </c:pt>
                <c:pt idx="478">
                  <c:v>105.020978249</c:v>
                </c:pt>
                <c:pt idx="479">
                  <c:v>105.39361819600001</c:v>
                </c:pt>
                <c:pt idx="480">
                  <c:v>106.26035111</c:v>
                </c:pt>
                <c:pt idx="481">
                  <c:v>106.517058629</c:v>
                </c:pt>
                <c:pt idx="482">
                  <c:v>106.392845313</c:v>
                </c:pt>
                <c:pt idx="483">
                  <c:v>106.58330573000001</c:v>
                </c:pt>
                <c:pt idx="484">
                  <c:v>106.29347466</c:v>
                </c:pt>
                <c:pt idx="485">
                  <c:v>106.83725295399999</c:v>
                </c:pt>
                <c:pt idx="486">
                  <c:v>106.99458982</c:v>
                </c:pt>
                <c:pt idx="487">
                  <c:v>107.10224135999999</c:v>
                </c:pt>
                <c:pt idx="488">
                  <c:v>107.41967538900001</c:v>
                </c:pt>
                <c:pt idx="489">
                  <c:v>107.361709175</c:v>
                </c:pt>
                <c:pt idx="490">
                  <c:v>107.59633432699999</c:v>
                </c:pt>
                <c:pt idx="491">
                  <c:v>108.30573037400001</c:v>
                </c:pt>
                <c:pt idx="492">
                  <c:v>108.13183173199999</c:v>
                </c:pt>
                <c:pt idx="493">
                  <c:v>108.708733576</c:v>
                </c:pt>
                <c:pt idx="494">
                  <c:v>108.653527658</c:v>
                </c:pt>
                <c:pt idx="495">
                  <c:v>108.374737772</c:v>
                </c:pt>
                <c:pt idx="496">
                  <c:v>109.21386772699999</c:v>
                </c:pt>
                <c:pt idx="497">
                  <c:v>107.919288948</c:v>
                </c:pt>
                <c:pt idx="498">
                  <c:v>108.272606823</c:v>
                </c:pt>
                <c:pt idx="499">
                  <c:v>108.56795848500001</c:v>
                </c:pt>
                <c:pt idx="500">
                  <c:v>108.101468477</c:v>
                </c:pt>
                <c:pt idx="501">
                  <c:v>108.750138015</c:v>
                </c:pt>
                <c:pt idx="502">
                  <c:v>108.388539251</c:v>
                </c:pt>
                <c:pt idx="503">
                  <c:v>109.045489676</c:v>
                </c:pt>
                <c:pt idx="504">
                  <c:v>109.075852931</c:v>
                </c:pt>
                <c:pt idx="505">
                  <c:v>108.921276361</c:v>
                </c:pt>
                <c:pt idx="506">
                  <c:v>108.565198189</c:v>
                </c:pt>
                <c:pt idx="507">
                  <c:v>108.717014464</c:v>
                </c:pt>
                <c:pt idx="508">
                  <c:v>109.583747378</c:v>
                </c:pt>
                <c:pt idx="509">
                  <c:v>108.885392514</c:v>
                </c:pt>
                <c:pt idx="510">
                  <c:v>107.50800485800001</c:v>
                </c:pt>
                <c:pt idx="511">
                  <c:v>108.27536711899999</c:v>
                </c:pt>
                <c:pt idx="512">
                  <c:v>107.51628574599999</c:v>
                </c:pt>
                <c:pt idx="513">
                  <c:v>107.107761952</c:v>
                </c:pt>
                <c:pt idx="514">
                  <c:v>108.109749365</c:v>
                </c:pt>
                <c:pt idx="515">
                  <c:v>108.57623937300001</c:v>
                </c:pt>
                <c:pt idx="516">
                  <c:v>108.319531854</c:v>
                </c:pt>
                <c:pt idx="517">
                  <c:v>108.570718781</c:v>
                </c:pt>
                <c:pt idx="518">
                  <c:v>109.74108424400001</c:v>
                </c:pt>
                <c:pt idx="519">
                  <c:v>109.928784366</c:v>
                </c:pt>
                <c:pt idx="520">
                  <c:v>110.113724191</c:v>
                </c:pt>
                <c:pt idx="521">
                  <c:v>110.406315557</c:v>
                </c:pt>
                <c:pt idx="522">
                  <c:v>110.87280556499999</c:v>
                </c:pt>
                <c:pt idx="523">
                  <c:v>110.75411284099999</c:v>
                </c:pt>
                <c:pt idx="524">
                  <c:v>110.486364138</c:v>
                </c:pt>
                <c:pt idx="525">
                  <c:v>111.273048471</c:v>
                </c:pt>
                <c:pt idx="526">
                  <c:v>111.648448714</c:v>
                </c:pt>
                <c:pt idx="527">
                  <c:v>110.59401567800001</c:v>
                </c:pt>
                <c:pt idx="528">
                  <c:v>110.301424313</c:v>
                </c:pt>
                <c:pt idx="529">
                  <c:v>110.908689412</c:v>
                </c:pt>
                <c:pt idx="530">
                  <c:v>110.356630231</c:v>
                </c:pt>
                <c:pt idx="531">
                  <c:v>110.77067461599999</c:v>
                </c:pt>
                <c:pt idx="532">
                  <c:v>110.35386993500001</c:v>
                </c:pt>
                <c:pt idx="533">
                  <c:v>110.812079055</c:v>
                </c:pt>
                <c:pt idx="534">
                  <c:v>110.605056862</c:v>
                </c:pt>
                <c:pt idx="535">
                  <c:v>111.005299768</c:v>
                </c:pt>
                <c:pt idx="536">
                  <c:v>111.060505686</c:v>
                </c:pt>
                <c:pt idx="537">
                  <c:v>110.381472894</c:v>
                </c:pt>
                <c:pt idx="538">
                  <c:v>110.086121232</c:v>
                </c:pt>
                <c:pt idx="539">
                  <c:v>109.84321519300001</c:v>
                </c:pt>
                <c:pt idx="540">
                  <c:v>110.453240587</c:v>
                </c:pt>
                <c:pt idx="541">
                  <c:v>110.97769680899999</c:v>
                </c:pt>
                <c:pt idx="542">
                  <c:v>112.501380148</c:v>
                </c:pt>
                <c:pt idx="543">
                  <c:v>113.340510103</c:v>
                </c:pt>
                <c:pt idx="544">
                  <c:v>112.89058187000001</c:v>
                </c:pt>
                <c:pt idx="545">
                  <c:v>111.005299768</c:v>
                </c:pt>
                <c:pt idx="546">
                  <c:v>111.549078061</c:v>
                </c:pt>
                <c:pt idx="547">
                  <c:v>110.22137573099999</c:v>
                </c:pt>
                <c:pt idx="548">
                  <c:v>109.67759743800001</c:v>
                </c:pt>
                <c:pt idx="549">
                  <c:v>110.35386993500001</c:v>
                </c:pt>
                <c:pt idx="550">
                  <c:v>110.756873137</c:v>
                </c:pt>
                <c:pt idx="551">
                  <c:v>112.026609253</c:v>
                </c:pt>
                <c:pt idx="552">
                  <c:v>112.617312576</c:v>
                </c:pt>
                <c:pt idx="553">
                  <c:v>113.285304185</c:v>
                </c:pt>
                <c:pt idx="554">
                  <c:v>113.227337971</c:v>
                </c:pt>
                <c:pt idx="555">
                  <c:v>114.06094733400001</c:v>
                </c:pt>
                <c:pt idx="556">
                  <c:v>114.662691841</c:v>
                </c:pt>
                <c:pt idx="557">
                  <c:v>113.969857569</c:v>
                </c:pt>
                <c:pt idx="558">
                  <c:v>114.16583857800001</c:v>
                </c:pt>
                <c:pt idx="559">
                  <c:v>115.137462736</c:v>
                </c:pt>
                <c:pt idx="560">
                  <c:v>115.096058297</c:v>
                </c:pt>
                <c:pt idx="561">
                  <c:v>115.92138677299999</c:v>
                </c:pt>
                <c:pt idx="562">
                  <c:v>116.87920945099999</c:v>
                </c:pt>
                <c:pt idx="563">
                  <c:v>116.296787016</c:v>
                </c:pt>
                <c:pt idx="564">
                  <c:v>116.285745832</c:v>
                </c:pt>
                <c:pt idx="565">
                  <c:v>116.43756210700001</c:v>
                </c:pt>
                <c:pt idx="566">
                  <c:v>117.08899194</c:v>
                </c:pt>
                <c:pt idx="567">
                  <c:v>117.536159876</c:v>
                </c:pt>
                <c:pt idx="568">
                  <c:v>117.342939163</c:v>
                </c:pt>
                <c:pt idx="569">
                  <c:v>117.561002539</c:v>
                </c:pt>
                <c:pt idx="570">
                  <c:v>118.176548526</c:v>
                </c:pt>
                <c:pt idx="571">
                  <c:v>118.34492657600001</c:v>
                </c:pt>
                <c:pt idx="572">
                  <c:v>117.79562769100001</c:v>
                </c:pt>
                <c:pt idx="573">
                  <c:v>116.194656067</c:v>
                </c:pt>
                <c:pt idx="574">
                  <c:v>116.178094292</c:v>
                </c:pt>
                <c:pt idx="575">
                  <c:v>115.893783814</c:v>
                </c:pt>
                <c:pt idx="576">
                  <c:v>116.506569504</c:v>
                </c:pt>
                <c:pt idx="577">
                  <c:v>115.954510324</c:v>
                </c:pt>
                <c:pt idx="578">
                  <c:v>116.09528541500001</c:v>
                </c:pt>
                <c:pt idx="579">
                  <c:v>114.577122668</c:v>
                </c:pt>
                <c:pt idx="580">
                  <c:v>114.624047698</c:v>
                </c:pt>
                <c:pt idx="581">
                  <c:v>114.720658055</c:v>
                </c:pt>
                <c:pt idx="582">
                  <c:v>113.00099370700001</c:v>
                </c:pt>
                <c:pt idx="583">
                  <c:v>113.25494093</c:v>
                </c:pt>
                <c:pt idx="584">
                  <c:v>114.41426520900001</c:v>
                </c:pt>
                <c:pt idx="585">
                  <c:v>114.668212432</c:v>
                </c:pt>
                <c:pt idx="586">
                  <c:v>113.931213426</c:v>
                </c:pt>
                <c:pt idx="587">
                  <c:v>113.558573479</c:v>
                </c:pt>
                <c:pt idx="588">
                  <c:v>113.972617865</c:v>
                </c:pt>
                <c:pt idx="589">
                  <c:v>114.000220824</c:v>
                </c:pt>
                <c:pt idx="590">
                  <c:v>115.04361267500001</c:v>
                </c:pt>
                <c:pt idx="591">
                  <c:v>115.488020316</c:v>
                </c:pt>
                <c:pt idx="592">
                  <c:v>114.91939936</c:v>
                </c:pt>
                <c:pt idx="593">
                  <c:v>110.922490891</c:v>
                </c:pt>
                <c:pt idx="594">
                  <c:v>110.712708402</c:v>
                </c:pt>
                <c:pt idx="595">
                  <c:v>109.12553825800001</c:v>
                </c:pt>
                <c:pt idx="596">
                  <c:v>109.978469692</c:v>
                </c:pt>
                <c:pt idx="597">
                  <c:v>111.021861544</c:v>
                </c:pt>
                <c:pt idx="598">
                  <c:v>111.87755327399999</c:v>
                </c:pt>
                <c:pt idx="599">
                  <c:v>111.739538479</c:v>
                </c:pt>
                <c:pt idx="600">
                  <c:v>112.597990505</c:v>
                </c:pt>
                <c:pt idx="601">
                  <c:v>112.644915535</c:v>
                </c:pt>
                <c:pt idx="602">
                  <c:v>112.294357955</c:v>
                </c:pt>
                <c:pt idx="603">
                  <c:v>112.920945125</c:v>
                </c:pt>
                <c:pt idx="604">
                  <c:v>112.981671635</c:v>
                </c:pt>
                <c:pt idx="605">
                  <c:v>113.61653969299999</c:v>
                </c:pt>
                <c:pt idx="606">
                  <c:v>114.47775201499999</c:v>
                </c:pt>
                <c:pt idx="607">
                  <c:v>114.85867285</c:v>
                </c:pt>
                <c:pt idx="608">
                  <c:v>116.705310809</c:v>
                </c:pt>
                <c:pt idx="609">
                  <c:v>116.824003533</c:v>
                </c:pt>
                <c:pt idx="610">
                  <c:v>117.014463951</c:v>
                </c:pt>
                <c:pt idx="611">
                  <c:v>117.01170365500001</c:v>
                </c:pt>
                <c:pt idx="612">
                  <c:v>117.227006735</c:v>
                </c:pt>
                <c:pt idx="613">
                  <c:v>117.82047035399999</c:v>
                </c:pt>
                <c:pt idx="614">
                  <c:v>117.99436899600001</c:v>
                </c:pt>
                <c:pt idx="615">
                  <c:v>118.562989953</c:v>
                </c:pt>
                <c:pt idx="616">
                  <c:v>118.52710610600001</c:v>
                </c:pt>
                <c:pt idx="617">
                  <c:v>118.43325604499999</c:v>
                </c:pt>
                <c:pt idx="618">
                  <c:v>118.35596776</c:v>
                </c:pt>
                <c:pt idx="619">
                  <c:v>118.228994148</c:v>
                </c:pt>
                <c:pt idx="620">
                  <c:v>117.632770233</c:v>
                </c:pt>
                <c:pt idx="621">
                  <c:v>117.814949763</c:v>
                </c:pt>
                <c:pt idx="622">
                  <c:v>117.58032461099999</c:v>
                </c:pt>
                <c:pt idx="623">
                  <c:v>118.924588716</c:v>
                </c:pt>
                <c:pt idx="624">
                  <c:v>119.691950977</c:v>
                </c:pt>
                <c:pt idx="625">
                  <c:v>119.44628464199999</c:v>
                </c:pt>
                <c:pt idx="626">
                  <c:v>119.316550734</c:v>
                </c:pt>
                <c:pt idx="627">
                  <c:v>118.637517942</c:v>
                </c:pt>
                <c:pt idx="628">
                  <c:v>119.305509551</c:v>
                </c:pt>
                <c:pt idx="629">
                  <c:v>119.247543337</c:v>
                </c:pt>
                <c:pt idx="630">
                  <c:v>119.035000552</c:v>
                </c:pt>
                <c:pt idx="631">
                  <c:v>119.288947775</c:v>
                </c:pt>
                <c:pt idx="632">
                  <c:v>119.371756652</c:v>
                </c:pt>
                <c:pt idx="633">
                  <c:v>117.903279232</c:v>
                </c:pt>
                <c:pt idx="634">
                  <c:v>117.97780722100001</c:v>
                </c:pt>
                <c:pt idx="635">
                  <c:v>117.447830407</c:v>
                </c:pt>
                <c:pt idx="636">
                  <c:v>117.334658275</c:v>
                </c:pt>
                <c:pt idx="637">
                  <c:v>116.52589157600001</c:v>
                </c:pt>
                <c:pt idx="638">
                  <c:v>117.130396378</c:v>
                </c:pt>
                <c:pt idx="639">
                  <c:v>118.00264988399999</c:v>
                </c:pt>
                <c:pt idx="640">
                  <c:v>117.693496743</c:v>
                </c:pt>
                <c:pt idx="641">
                  <c:v>116.156011924</c:v>
                </c:pt>
                <c:pt idx="642">
                  <c:v>115.755769018</c:v>
                </c:pt>
                <c:pt idx="643">
                  <c:v>115.860660263</c:v>
                </c:pt>
                <c:pt idx="644">
                  <c:v>115.214751021</c:v>
                </c:pt>
                <c:pt idx="645">
                  <c:v>115.93794854799999</c:v>
                </c:pt>
                <c:pt idx="646">
                  <c:v>116.357513525</c:v>
                </c:pt>
                <c:pt idx="647">
                  <c:v>117.146958154</c:v>
                </c:pt>
                <c:pt idx="648">
                  <c:v>117.254609694</c:v>
                </c:pt>
                <c:pt idx="649">
                  <c:v>117.641051121</c:v>
                </c:pt>
                <c:pt idx="650">
                  <c:v>118.731368003</c:v>
                </c:pt>
                <c:pt idx="651">
                  <c:v>119.802362813</c:v>
                </c:pt>
                <c:pt idx="652">
                  <c:v>120.30749696399999</c:v>
                </c:pt>
                <c:pt idx="653">
                  <c:v>120.122557138</c:v>
                </c:pt>
                <c:pt idx="654">
                  <c:v>120.17224246400001</c:v>
                </c:pt>
                <c:pt idx="655">
                  <c:v>121.19907254100001</c:v>
                </c:pt>
                <c:pt idx="656">
                  <c:v>121.229435796</c:v>
                </c:pt>
                <c:pt idx="657">
                  <c:v>122.30871149399999</c:v>
                </c:pt>
                <c:pt idx="658">
                  <c:v>123.272054764</c:v>
                </c:pt>
                <c:pt idx="659">
                  <c:v>122.529535166</c:v>
                </c:pt>
                <c:pt idx="660">
                  <c:v>122.12653196399999</c:v>
                </c:pt>
                <c:pt idx="661">
                  <c:v>121.963674506</c:v>
                </c:pt>
                <c:pt idx="662">
                  <c:v>121.825659711</c:v>
                </c:pt>
                <c:pt idx="663">
                  <c:v>122.123771668</c:v>
                </c:pt>
                <c:pt idx="664">
                  <c:v>122.018880424</c:v>
                </c:pt>
                <c:pt idx="665">
                  <c:v>121.107982776</c:v>
                </c:pt>
                <c:pt idx="666">
                  <c:v>121.87810533299999</c:v>
                </c:pt>
                <c:pt idx="667">
                  <c:v>121.682124324</c:v>
                </c:pt>
                <c:pt idx="668">
                  <c:v>121.066578337</c:v>
                </c:pt>
                <c:pt idx="669">
                  <c:v>121.411615325</c:v>
                </c:pt>
                <c:pt idx="670">
                  <c:v>120.533841228</c:v>
                </c:pt>
                <c:pt idx="671">
                  <c:v>119.551175886</c:v>
                </c:pt>
                <c:pt idx="672">
                  <c:v>119.31103014200001</c:v>
                </c:pt>
                <c:pt idx="673">
                  <c:v>121.32880644799999</c:v>
                </c:pt>
                <c:pt idx="674">
                  <c:v>122.242464392</c:v>
                </c:pt>
                <c:pt idx="675">
                  <c:v>122.65926907399999</c:v>
                </c:pt>
                <c:pt idx="676">
                  <c:v>122.328033565</c:v>
                </c:pt>
                <c:pt idx="677">
                  <c:v>123.238931213</c:v>
                </c:pt>
                <c:pt idx="678">
                  <c:v>124.547311472</c:v>
                </c:pt>
                <c:pt idx="679">
                  <c:v>125.455448824</c:v>
                </c:pt>
                <c:pt idx="680">
                  <c:v>125.58794302699999</c:v>
                </c:pt>
                <c:pt idx="681">
                  <c:v>126.443634758</c:v>
                </c:pt>
                <c:pt idx="682">
                  <c:v>125.750800486</c:v>
                </c:pt>
                <c:pt idx="683">
                  <c:v>126.23937286100001</c:v>
                </c:pt>
                <c:pt idx="684">
                  <c:v>126.195208126</c:v>
                </c:pt>
                <c:pt idx="685">
                  <c:v>126.377387656</c:v>
                </c:pt>
                <c:pt idx="686">
                  <c:v>126.681020205</c:v>
                </c:pt>
                <c:pt idx="687">
                  <c:v>126.529203931</c:v>
                </c:pt>
                <c:pt idx="688">
                  <c:v>125.844650547</c:v>
                </c:pt>
                <c:pt idx="689">
                  <c:v>125.40300320199999</c:v>
                </c:pt>
                <c:pt idx="690">
                  <c:v>125.861212322</c:v>
                </c:pt>
                <c:pt idx="691">
                  <c:v>125.532737109</c:v>
                </c:pt>
                <c:pt idx="692">
                  <c:v>126.258694932</c:v>
                </c:pt>
                <c:pt idx="693">
                  <c:v>124.787457215</c:v>
                </c:pt>
                <c:pt idx="694">
                  <c:v>125.342276692</c:v>
                </c:pt>
                <c:pt idx="695">
                  <c:v>125.717676935</c:v>
                </c:pt>
                <c:pt idx="696">
                  <c:v>125.57138125199999</c:v>
                </c:pt>
                <c:pt idx="697">
                  <c:v>125.79496521999999</c:v>
                </c:pt>
                <c:pt idx="698">
                  <c:v>126.708623164</c:v>
                </c:pt>
                <c:pt idx="699">
                  <c:v>127.384895661</c:v>
                </c:pt>
                <c:pt idx="700">
                  <c:v>127.528431048</c:v>
                </c:pt>
                <c:pt idx="701">
                  <c:v>127.031577785</c:v>
                </c:pt>
                <c:pt idx="702">
                  <c:v>126.628574583</c:v>
                </c:pt>
                <c:pt idx="703">
                  <c:v>127.00121453</c:v>
                </c:pt>
                <c:pt idx="704">
                  <c:v>127.536711936</c:v>
                </c:pt>
                <c:pt idx="705">
                  <c:v>127.605719333</c:v>
                </c:pt>
                <c:pt idx="706">
                  <c:v>127.478745722</c:v>
                </c:pt>
                <c:pt idx="707">
                  <c:v>127.713370873</c:v>
                </c:pt>
                <c:pt idx="708">
                  <c:v>128.05840786100001</c:v>
                </c:pt>
                <c:pt idx="709">
                  <c:v>128.02804460600001</c:v>
                </c:pt>
                <c:pt idx="710">
                  <c:v>127.45942365000001</c:v>
                </c:pt>
                <c:pt idx="711">
                  <c:v>126.835596776</c:v>
                </c:pt>
                <c:pt idx="712">
                  <c:v>126.14552279999999</c:v>
                </c:pt>
                <c:pt idx="713">
                  <c:v>125.684553384</c:v>
                </c:pt>
                <c:pt idx="714">
                  <c:v>126.75002760300001</c:v>
                </c:pt>
                <c:pt idx="715">
                  <c:v>127.177873468</c:v>
                </c:pt>
                <c:pt idx="716">
                  <c:v>126.91840565299999</c:v>
                </c:pt>
                <c:pt idx="717">
                  <c:v>125.852931434</c:v>
                </c:pt>
                <c:pt idx="718">
                  <c:v>124.936513194</c:v>
                </c:pt>
                <c:pt idx="719">
                  <c:v>124.839902838</c:v>
                </c:pt>
                <c:pt idx="720">
                  <c:v>125.637628354</c:v>
                </c:pt>
                <c:pt idx="721">
                  <c:v>125.21530308</c:v>
                </c:pt>
                <c:pt idx="722">
                  <c:v>126.857679143</c:v>
                </c:pt>
                <c:pt idx="723">
                  <c:v>127.246880866</c:v>
                </c:pt>
                <c:pt idx="724">
                  <c:v>127.881748923</c:v>
                </c:pt>
                <c:pt idx="725">
                  <c:v>128.71811858199999</c:v>
                </c:pt>
                <c:pt idx="726">
                  <c:v>128.88649663199999</c:v>
                </c:pt>
                <c:pt idx="727">
                  <c:v>130.089985646</c:v>
                </c:pt>
                <c:pt idx="728">
                  <c:v>130.28044606399999</c:v>
                </c:pt>
                <c:pt idx="729">
                  <c:v>130.653086011</c:v>
                </c:pt>
                <c:pt idx="730">
                  <c:v>129.44959699699999</c:v>
                </c:pt>
                <c:pt idx="731">
                  <c:v>129.55172794500001</c:v>
                </c:pt>
                <c:pt idx="732">
                  <c:v>129.16528651900001</c:v>
                </c:pt>
                <c:pt idx="733">
                  <c:v>129.64005741400001</c:v>
                </c:pt>
                <c:pt idx="734">
                  <c:v>129.891244341</c:v>
                </c:pt>
                <c:pt idx="735">
                  <c:v>129.59037208800001</c:v>
                </c:pt>
                <c:pt idx="736">
                  <c:v>130.31080931899999</c:v>
                </c:pt>
                <c:pt idx="737">
                  <c:v>129.61245445500001</c:v>
                </c:pt>
                <c:pt idx="738">
                  <c:v>130.048581208</c:v>
                </c:pt>
                <c:pt idx="739">
                  <c:v>130.68896985800001</c:v>
                </c:pt>
                <c:pt idx="740">
                  <c:v>130.62548305199999</c:v>
                </c:pt>
                <c:pt idx="741">
                  <c:v>130.476427073</c:v>
                </c:pt>
                <c:pt idx="742">
                  <c:v>130.446063818</c:v>
                </c:pt>
                <c:pt idx="743">
                  <c:v>130.622722756</c:v>
                </c:pt>
                <c:pt idx="744">
                  <c:v>130.81594346899999</c:v>
                </c:pt>
                <c:pt idx="745">
                  <c:v>129.95749144300001</c:v>
                </c:pt>
                <c:pt idx="746">
                  <c:v>127.448382467</c:v>
                </c:pt>
                <c:pt idx="747">
                  <c:v>126.341503809</c:v>
                </c:pt>
                <c:pt idx="748">
                  <c:v>126.84663796</c:v>
                </c:pt>
                <c:pt idx="749">
                  <c:v>126.32770232999999</c:v>
                </c:pt>
                <c:pt idx="750">
                  <c:v>126.548526002</c:v>
                </c:pt>
                <c:pt idx="751">
                  <c:v>125.86397261800001</c:v>
                </c:pt>
                <c:pt idx="752">
                  <c:v>123.810312465</c:v>
                </c:pt>
                <c:pt idx="753">
                  <c:v>123.548084355</c:v>
                </c:pt>
                <c:pt idx="754">
                  <c:v>123.796510986</c:v>
                </c:pt>
                <c:pt idx="755">
                  <c:v>125.41956497699999</c:v>
                </c:pt>
                <c:pt idx="756">
                  <c:v>126.934967429</c:v>
                </c:pt>
                <c:pt idx="757">
                  <c:v>127.35177211</c:v>
                </c:pt>
                <c:pt idx="758">
                  <c:v>128.731920062</c:v>
                </c:pt>
                <c:pt idx="759">
                  <c:v>129.04659379500001</c:v>
                </c:pt>
                <c:pt idx="760">
                  <c:v>129.446836701</c:v>
                </c:pt>
                <c:pt idx="761">
                  <c:v>129.98509440199999</c:v>
                </c:pt>
                <c:pt idx="762">
                  <c:v>130.29148724699999</c:v>
                </c:pt>
                <c:pt idx="763">
                  <c:v>130.85458761199999</c:v>
                </c:pt>
                <c:pt idx="764">
                  <c:v>130.46262559300001</c:v>
                </c:pt>
                <c:pt idx="765">
                  <c:v>130.48746825699999</c:v>
                </c:pt>
                <c:pt idx="766">
                  <c:v>130.84906702000001</c:v>
                </c:pt>
                <c:pt idx="767">
                  <c:v>131.52809981199999</c:v>
                </c:pt>
                <c:pt idx="768">
                  <c:v>131.663354312</c:v>
                </c:pt>
                <c:pt idx="769">
                  <c:v>131.29071436500001</c:v>
                </c:pt>
                <c:pt idx="770">
                  <c:v>131.57502484299999</c:v>
                </c:pt>
                <c:pt idx="771">
                  <c:v>132.16296786999999</c:v>
                </c:pt>
                <c:pt idx="772">
                  <c:v>130.56199624600001</c:v>
                </c:pt>
                <c:pt idx="773">
                  <c:v>132.328585624</c:v>
                </c:pt>
                <c:pt idx="774">
                  <c:v>132.48040189899999</c:v>
                </c:pt>
                <c:pt idx="775">
                  <c:v>133.07662581400001</c:v>
                </c:pt>
                <c:pt idx="776">
                  <c:v>132.71502705099999</c:v>
                </c:pt>
                <c:pt idx="777">
                  <c:v>132.34238710400001</c:v>
                </c:pt>
                <c:pt idx="778">
                  <c:v>132.03599425900001</c:v>
                </c:pt>
                <c:pt idx="779">
                  <c:v>131.52257922000001</c:v>
                </c:pt>
                <c:pt idx="780">
                  <c:v>130.46814618499999</c:v>
                </c:pt>
                <c:pt idx="781">
                  <c:v>129.57933090399999</c:v>
                </c:pt>
                <c:pt idx="782">
                  <c:v>130.59788009299999</c:v>
                </c:pt>
                <c:pt idx="783">
                  <c:v>131.52257922000001</c:v>
                </c:pt>
                <c:pt idx="784">
                  <c:v>130.948437673</c:v>
                </c:pt>
                <c:pt idx="785">
                  <c:v>130.58959920500001</c:v>
                </c:pt>
                <c:pt idx="786">
                  <c:v>130.504030032</c:v>
                </c:pt>
                <c:pt idx="787">
                  <c:v>129.94368996399999</c:v>
                </c:pt>
                <c:pt idx="788">
                  <c:v>130.71381252099999</c:v>
                </c:pt>
                <c:pt idx="789">
                  <c:v>130.672408082</c:v>
                </c:pt>
                <c:pt idx="790">
                  <c:v>130.68620956199999</c:v>
                </c:pt>
                <c:pt idx="791">
                  <c:v>131.365242354</c:v>
                </c:pt>
                <c:pt idx="792">
                  <c:v>132.33410621600001</c:v>
                </c:pt>
                <c:pt idx="793">
                  <c:v>133.10698906900001</c:v>
                </c:pt>
                <c:pt idx="794">
                  <c:v>133.40234073100001</c:v>
                </c:pt>
                <c:pt idx="795">
                  <c:v>133.22292149699999</c:v>
                </c:pt>
                <c:pt idx="796">
                  <c:v>132.59081373500001</c:v>
                </c:pt>
                <c:pt idx="797">
                  <c:v>131.25483051800001</c:v>
                </c:pt>
                <c:pt idx="798">
                  <c:v>131.54742188399999</c:v>
                </c:pt>
                <c:pt idx="799">
                  <c:v>132.43899746100001</c:v>
                </c:pt>
                <c:pt idx="800">
                  <c:v>130.99536270300001</c:v>
                </c:pt>
                <c:pt idx="801">
                  <c:v>129.58209120000001</c:v>
                </c:pt>
                <c:pt idx="802">
                  <c:v>129.99337528999999</c:v>
                </c:pt>
                <c:pt idx="803">
                  <c:v>130.16451363600001</c:v>
                </c:pt>
                <c:pt idx="804">
                  <c:v>131.64679253599999</c:v>
                </c:pt>
                <c:pt idx="805">
                  <c:v>132.08291928899999</c:v>
                </c:pt>
                <c:pt idx="806">
                  <c:v>133.060064039</c:v>
                </c:pt>
                <c:pt idx="807">
                  <c:v>132.89720658100001</c:v>
                </c:pt>
                <c:pt idx="808">
                  <c:v>133.04074196799999</c:v>
                </c:pt>
                <c:pt idx="809">
                  <c:v>132.25405763500001</c:v>
                </c:pt>
                <c:pt idx="810">
                  <c:v>132.37275035900001</c:v>
                </c:pt>
                <c:pt idx="811">
                  <c:v>133.13459202799999</c:v>
                </c:pt>
                <c:pt idx="812">
                  <c:v>133.56795848499999</c:v>
                </c:pt>
                <c:pt idx="813">
                  <c:v>133.810864525</c:v>
                </c:pt>
                <c:pt idx="814">
                  <c:v>133.73081594300001</c:v>
                </c:pt>
                <c:pt idx="815">
                  <c:v>133.82742630000001</c:v>
                </c:pt>
                <c:pt idx="816">
                  <c:v>133.38025836400001</c:v>
                </c:pt>
                <c:pt idx="817">
                  <c:v>133.396820139</c:v>
                </c:pt>
                <c:pt idx="818">
                  <c:v>133.68113061700001</c:v>
                </c:pt>
                <c:pt idx="819">
                  <c:v>133.40786132299999</c:v>
                </c:pt>
                <c:pt idx="820">
                  <c:v>134.32980015499999</c:v>
                </c:pt>
                <c:pt idx="821">
                  <c:v>134.60582974499999</c:v>
                </c:pt>
                <c:pt idx="822">
                  <c:v>134.44021199100001</c:v>
                </c:pt>
                <c:pt idx="823">
                  <c:v>133.43822457799999</c:v>
                </c:pt>
                <c:pt idx="824">
                  <c:v>133.50447167900001</c:v>
                </c:pt>
                <c:pt idx="825">
                  <c:v>133.67284972900001</c:v>
                </c:pt>
                <c:pt idx="826">
                  <c:v>133.109749365</c:v>
                </c:pt>
                <c:pt idx="827">
                  <c:v>133.79706304499999</c:v>
                </c:pt>
                <c:pt idx="828">
                  <c:v>134.307717787</c:v>
                </c:pt>
                <c:pt idx="829">
                  <c:v>134.763166611</c:v>
                </c:pt>
                <c:pt idx="830">
                  <c:v>135.21309484400001</c:v>
                </c:pt>
                <c:pt idx="831">
                  <c:v>135.57193331100001</c:v>
                </c:pt>
                <c:pt idx="832">
                  <c:v>135.502925914</c:v>
                </c:pt>
                <c:pt idx="833">
                  <c:v>136.07154686999999</c:v>
                </c:pt>
                <c:pt idx="834">
                  <c:v>136.228883736</c:v>
                </c:pt>
                <c:pt idx="835">
                  <c:v>136.44694711299999</c:v>
                </c:pt>
                <c:pt idx="836">
                  <c:v>136.336535277</c:v>
                </c:pt>
                <c:pt idx="837">
                  <c:v>136.51595451</c:v>
                </c:pt>
                <c:pt idx="838">
                  <c:v>137.13426079300001</c:v>
                </c:pt>
                <c:pt idx="839">
                  <c:v>137.86573920699999</c:v>
                </c:pt>
                <c:pt idx="840">
                  <c:v>137.97891133900001</c:v>
                </c:pt>
                <c:pt idx="841">
                  <c:v>137.92370542099999</c:v>
                </c:pt>
                <c:pt idx="842">
                  <c:v>137.61455228</c:v>
                </c:pt>
                <c:pt idx="843">
                  <c:v>137.186706415</c:v>
                </c:pt>
                <c:pt idx="844">
                  <c:v>137.288837363</c:v>
                </c:pt>
                <c:pt idx="845">
                  <c:v>137.26123440399999</c:v>
                </c:pt>
                <c:pt idx="846">
                  <c:v>137.38268742400001</c:v>
                </c:pt>
                <c:pt idx="847">
                  <c:v>138.100364359</c:v>
                </c:pt>
                <c:pt idx="848">
                  <c:v>139.000220824</c:v>
                </c:pt>
                <c:pt idx="849">
                  <c:v>138.889808988</c:v>
                </c:pt>
                <c:pt idx="850">
                  <c:v>138.78491774299999</c:v>
                </c:pt>
                <c:pt idx="851">
                  <c:v>138.11968643</c:v>
                </c:pt>
                <c:pt idx="852">
                  <c:v>138.13348791000001</c:v>
                </c:pt>
                <c:pt idx="853">
                  <c:v>138.10588495100001</c:v>
                </c:pt>
                <c:pt idx="854">
                  <c:v>138.376393949</c:v>
                </c:pt>
                <c:pt idx="855">
                  <c:v>138.58065584600001</c:v>
                </c:pt>
                <c:pt idx="856">
                  <c:v>139.50811526999999</c:v>
                </c:pt>
                <c:pt idx="857">
                  <c:v>139.67649331999999</c:v>
                </c:pt>
                <c:pt idx="858">
                  <c:v>140.239593684</c:v>
                </c:pt>
                <c:pt idx="859">
                  <c:v>140.19266865399999</c:v>
                </c:pt>
                <c:pt idx="860">
                  <c:v>139.49431379000001</c:v>
                </c:pt>
                <c:pt idx="861">
                  <c:v>138.467483714</c:v>
                </c:pt>
                <c:pt idx="862">
                  <c:v>138.78767803900001</c:v>
                </c:pt>
                <c:pt idx="863">
                  <c:v>137.86849950300001</c:v>
                </c:pt>
                <c:pt idx="864">
                  <c:v>137.99271281899999</c:v>
                </c:pt>
                <c:pt idx="865">
                  <c:v>138.873247212</c:v>
                </c:pt>
                <c:pt idx="866">
                  <c:v>138.43159986800001</c:v>
                </c:pt>
                <c:pt idx="867">
                  <c:v>139.25416804700001</c:v>
                </c:pt>
                <c:pt idx="868">
                  <c:v>137.98443193099999</c:v>
                </c:pt>
                <c:pt idx="869">
                  <c:v>138.64966324400001</c:v>
                </c:pt>
                <c:pt idx="870">
                  <c:v>138.334989511</c:v>
                </c:pt>
                <c:pt idx="871">
                  <c:v>139.19068124099999</c:v>
                </c:pt>
                <c:pt idx="872">
                  <c:v>139.46947112699999</c:v>
                </c:pt>
                <c:pt idx="873">
                  <c:v>139.63784917699999</c:v>
                </c:pt>
                <c:pt idx="874">
                  <c:v>139.02230319099999</c:v>
                </c:pt>
                <c:pt idx="875">
                  <c:v>139.027823783</c:v>
                </c:pt>
                <c:pt idx="876">
                  <c:v>138.724191233</c:v>
                </c:pt>
                <c:pt idx="877">
                  <c:v>138.40951749999999</c:v>
                </c:pt>
                <c:pt idx="878">
                  <c:v>136.39174119500001</c:v>
                </c:pt>
                <c:pt idx="879">
                  <c:v>135.712708402</c:v>
                </c:pt>
                <c:pt idx="880">
                  <c:v>136.02462183899999</c:v>
                </c:pt>
                <c:pt idx="881">
                  <c:v>135.07508004900001</c:v>
                </c:pt>
                <c:pt idx="882">
                  <c:v>134.67483714299999</c:v>
                </c:pt>
                <c:pt idx="883">
                  <c:v>134.03444849300001</c:v>
                </c:pt>
                <c:pt idx="884">
                  <c:v>134.42088991899999</c:v>
                </c:pt>
                <c:pt idx="885">
                  <c:v>135.36491111800001</c:v>
                </c:pt>
                <c:pt idx="886">
                  <c:v>135.21033454799999</c:v>
                </c:pt>
                <c:pt idx="887">
                  <c:v>135.99425858500001</c:v>
                </c:pt>
                <c:pt idx="888">
                  <c:v>136.58220161200001</c:v>
                </c:pt>
                <c:pt idx="889">
                  <c:v>136.47731036799999</c:v>
                </c:pt>
                <c:pt idx="890">
                  <c:v>137.50966103600001</c:v>
                </c:pt>
                <c:pt idx="891">
                  <c:v>138.12520702200001</c:v>
                </c:pt>
                <c:pt idx="892">
                  <c:v>138.19973501199999</c:v>
                </c:pt>
                <c:pt idx="893">
                  <c:v>138.70486916199999</c:v>
                </c:pt>
                <c:pt idx="894">
                  <c:v>138.24113944999999</c:v>
                </c:pt>
                <c:pt idx="895">
                  <c:v>139.00574141499999</c:v>
                </c:pt>
                <c:pt idx="896">
                  <c:v>139.32041514900001</c:v>
                </c:pt>
                <c:pt idx="897">
                  <c:v>139.46947112699999</c:v>
                </c:pt>
                <c:pt idx="898">
                  <c:v>138.95605608899999</c:v>
                </c:pt>
                <c:pt idx="899">
                  <c:v>139.27901070999999</c:v>
                </c:pt>
                <c:pt idx="900">
                  <c:v>139.25968863899999</c:v>
                </c:pt>
                <c:pt idx="901">
                  <c:v>139.187920945</c:v>
                </c:pt>
                <c:pt idx="902">
                  <c:v>139.61576681</c:v>
                </c:pt>
                <c:pt idx="903">
                  <c:v>139.34801810799999</c:v>
                </c:pt>
                <c:pt idx="904">
                  <c:v>139.48879319900001</c:v>
                </c:pt>
                <c:pt idx="905">
                  <c:v>138.980898752</c:v>
                </c:pt>
                <c:pt idx="906">
                  <c:v>138.11416583900001</c:v>
                </c:pt>
                <c:pt idx="907">
                  <c:v>138.32118803099999</c:v>
                </c:pt>
                <c:pt idx="908">
                  <c:v>138.41779838799999</c:v>
                </c:pt>
                <c:pt idx="909">
                  <c:v>137.84365683999999</c:v>
                </c:pt>
                <c:pt idx="910">
                  <c:v>137.63111405500001</c:v>
                </c:pt>
                <c:pt idx="911">
                  <c:v>138.03411725699999</c:v>
                </c:pt>
                <c:pt idx="912">
                  <c:v>138.25218063400001</c:v>
                </c:pt>
                <c:pt idx="913">
                  <c:v>138.851164845</c:v>
                </c:pt>
                <c:pt idx="914">
                  <c:v>138.67174561100001</c:v>
                </c:pt>
                <c:pt idx="915">
                  <c:v>137.61179198400001</c:v>
                </c:pt>
                <c:pt idx="916">
                  <c:v>136.81682676400001</c:v>
                </c:pt>
                <c:pt idx="917">
                  <c:v>137.393728608</c:v>
                </c:pt>
                <c:pt idx="918">
                  <c:v>135.83692171800001</c:v>
                </c:pt>
                <c:pt idx="919">
                  <c:v>136.22336314500001</c:v>
                </c:pt>
                <c:pt idx="920">
                  <c:v>135.76515402499999</c:v>
                </c:pt>
                <c:pt idx="921">
                  <c:v>135.486364138</c:v>
                </c:pt>
                <c:pt idx="922">
                  <c:v>133.990283758</c:v>
                </c:pt>
                <c:pt idx="923">
                  <c:v>133.04074196799999</c:v>
                </c:pt>
                <c:pt idx="924">
                  <c:v>133.60108203600001</c:v>
                </c:pt>
                <c:pt idx="925">
                  <c:v>134.00408523799999</c:v>
                </c:pt>
                <c:pt idx="926">
                  <c:v>132.57149166400001</c:v>
                </c:pt>
                <c:pt idx="927">
                  <c:v>133.45754664899999</c:v>
                </c:pt>
                <c:pt idx="928">
                  <c:v>131.89245887199999</c:v>
                </c:pt>
                <c:pt idx="929">
                  <c:v>129.80567516799999</c:v>
                </c:pt>
                <c:pt idx="930">
                  <c:v>128.80920834700001</c:v>
                </c:pt>
                <c:pt idx="931">
                  <c:v>128.57734349099999</c:v>
                </c:pt>
                <c:pt idx="932">
                  <c:v>127.36281329400001</c:v>
                </c:pt>
                <c:pt idx="933">
                  <c:v>127.106105775</c:v>
                </c:pt>
                <c:pt idx="934">
                  <c:v>128.77056420400001</c:v>
                </c:pt>
                <c:pt idx="935">
                  <c:v>129.81395605599999</c:v>
                </c:pt>
                <c:pt idx="936">
                  <c:v>131.77652644400001</c:v>
                </c:pt>
                <c:pt idx="937">
                  <c:v>131.55846306699999</c:v>
                </c:pt>
                <c:pt idx="938">
                  <c:v>132.524566634</c:v>
                </c:pt>
                <c:pt idx="939">
                  <c:v>133.16219498699999</c:v>
                </c:pt>
                <c:pt idx="940">
                  <c:v>133.12079054899999</c:v>
                </c:pt>
                <c:pt idx="941">
                  <c:v>134.487137021</c:v>
                </c:pt>
                <c:pt idx="942">
                  <c:v>134.663795959</c:v>
                </c:pt>
                <c:pt idx="943">
                  <c:v>134.890140223</c:v>
                </c:pt>
                <c:pt idx="944">
                  <c:v>136.41106326600001</c:v>
                </c:pt>
                <c:pt idx="945">
                  <c:v>135.663023076</c:v>
                </c:pt>
                <c:pt idx="946">
                  <c:v>135.72098929000001</c:v>
                </c:pt>
                <c:pt idx="947">
                  <c:v>136.36689853199999</c:v>
                </c:pt>
                <c:pt idx="948">
                  <c:v>136.44694711299999</c:v>
                </c:pt>
                <c:pt idx="949">
                  <c:v>136.39174119500001</c:v>
                </c:pt>
                <c:pt idx="950">
                  <c:v>137.03765043600001</c:v>
                </c:pt>
                <c:pt idx="951">
                  <c:v>137.21430937400001</c:v>
                </c:pt>
                <c:pt idx="952">
                  <c:v>137.08457546599999</c:v>
                </c:pt>
                <c:pt idx="953">
                  <c:v>137.23639174100001</c:v>
                </c:pt>
                <c:pt idx="954">
                  <c:v>137.319200618</c:v>
                </c:pt>
                <c:pt idx="955">
                  <c:v>137.10941812999999</c:v>
                </c:pt>
                <c:pt idx="956">
                  <c:v>138.24113944999999</c:v>
                </c:pt>
                <c:pt idx="957">
                  <c:v>137.94578778799999</c:v>
                </c:pt>
                <c:pt idx="958">
                  <c:v>137.981671635</c:v>
                </c:pt>
                <c:pt idx="959">
                  <c:v>138.92017224200001</c:v>
                </c:pt>
                <c:pt idx="960">
                  <c:v>139.149276802</c:v>
                </c:pt>
                <c:pt idx="961">
                  <c:v>139.38942254599999</c:v>
                </c:pt>
                <c:pt idx="962">
                  <c:v>139.831069891</c:v>
                </c:pt>
                <c:pt idx="963">
                  <c:v>139.585403555</c:v>
                </c:pt>
                <c:pt idx="964">
                  <c:v>139.24588715900001</c:v>
                </c:pt>
                <c:pt idx="965">
                  <c:v>138.53097052000001</c:v>
                </c:pt>
                <c:pt idx="966">
                  <c:v>138.98641934400001</c:v>
                </c:pt>
                <c:pt idx="967">
                  <c:v>139.28177100600001</c:v>
                </c:pt>
                <c:pt idx="968">
                  <c:v>139.07198851699999</c:v>
                </c:pt>
                <c:pt idx="969">
                  <c:v>139.23208568000001</c:v>
                </c:pt>
                <c:pt idx="970">
                  <c:v>138.34879099</c:v>
                </c:pt>
                <c:pt idx="971">
                  <c:v>137.93474660499999</c:v>
                </c:pt>
                <c:pt idx="972">
                  <c:v>136.11295130799999</c:v>
                </c:pt>
                <c:pt idx="973">
                  <c:v>136.15159545099999</c:v>
                </c:pt>
                <c:pt idx="974">
                  <c:v>134.29391630800001</c:v>
                </c:pt>
                <c:pt idx="975">
                  <c:v>132.65154024500001</c:v>
                </c:pt>
                <c:pt idx="976">
                  <c:v>132.73158882600001</c:v>
                </c:pt>
                <c:pt idx="977">
                  <c:v>133.97648227900001</c:v>
                </c:pt>
                <c:pt idx="978">
                  <c:v>136.665010489</c:v>
                </c:pt>
                <c:pt idx="979">
                  <c:v>137.526222811</c:v>
                </c:pt>
                <c:pt idx="980">
                  <c:v>138.028596666</c:v>
                </c:pt>
                <c:pt idx="981">
                  <c:v>138.04239814499999</c:v>
                </c:pt>
                <c:pt idx="982">
                  <c:v>138.24942033799999</c:v>
                </c:pt>
                <c:pt idx="983">
                  <c:v>138.70486916199999</c:v>
                </c:pt>
                <c:pt idx="984">
                  <c:v>137.87678039100001</c:v>
                </c:pt>
                <c:pt idx="985">
                  <c:v>136.990725406</c:v>
                </c:pt>
                <c:pt idx="986">
                  <c:v>136.59600309199999</c:v>
                </c:pt>
                <c:pt idx="987">
                  <c:v>134.00684553400001</c:v>
                </c:pt>
                <c:pt idx="988">
                  <c:v>132.64325935700001</c:v>
                </c:pt>
                <c:pt idx="989">
                  <c:v>133.228442089</c:v>
                </c:pt>
                <c:pt idx="990">
                  <c:v>135.79275698399999</c:v>
                </c:pt>
                <c:pt idx="991">
                  <c:v>135.008832947</c:v>
                </c:pt>
                <c:pt idx="992">
                  <c:v>134.484376725</c:v>
                </c:pt>
                <c:pt idx="993">
                  <c:v>134.641713592</c:v>
                </c:pt>
                <c:pt idx="994">
                  <c:v>133.62040410700001</c:v>
                </c:pt>
                <c:pt idx="995">
                  <c:v>133.44098487400001</c:v>
                </c:pt>
                <c:pt idx="996">
                  <c:v>134.36568400100001</c:v>
                </c:pt>
                <c:pt idx="997">
                  <c:v>134.94810643700001</c:v>
                </c:pt>
                <c:pt idx="998">
                  <c:v>135.265540466</c:v>
                </c:pt>
                <c:pt idx="999">
                  <c:v>135.98321740099999</c:v>
                </c:pt>
                <c:pt idx="1000">
                  <c:v>137.228110853</c:v>
                </c:pt>
                <c:pt idx="1001">
                  <c:v>137.03489013999999</c:v>
                </c:pt>
                <c:pt idx="1002">
                  <c:v>137.38820801599999</c:v>
                </c:pt>
                <c:pt idx="1003">
                  <c:v>136.907916529</c:v>
                </c:pt>
                <c:pt idx="1004">
                  <c:v>135.67682455600001</c:v>
                </c:pt>
                <c:pt idx="1005">
                  <c:v>136.049464503</c:v>
                </c:pt>
                <c:pt idx="1006">
                  <c:v>134.73280335699999</c:v>
                </c:pt>
                <c:pt idx="1007">
                  <c:v>136.02186154399999</c:v>
                </c:pt>
                <c:pt idx="1008">
                  <c:v>137.61179198400001</c:v>
                </c:pt>
                <c:pt idx="1009">
                  <c:v>137.702881749</c:v>
                </c:pt>
                <c:pt idx="1010">
                  <c:v>138.65242354</c:v>
                </c:pt>
                <c:pt idx="1011">
                  <c:v>138.078281992</c:v>
                </c:pt>
                <c:pt idx="1012">
                  <c:v>137.55382577</c:v>
                </c:pt>
                <c:pt idx="1013">
                  <c:v>138.467483714</c:v>
                </c:pt>
                <c:pt idx="1014">
                  <c:v>138.127967318</c:v>
                </c:pt>
                <c:pt idx="1015">
                  <c:v>139.78414486</c:v>
                </c:pt>
                <c:pt idx="1016">
                  <c:v>140.65363807</c:v>
                </c:pt>
                <c:pt idx="1017">
                  <c:v>140.725405763</c:v>
                </c:pt>
                <c:pt idx="1018">
                  <c:v>140.88274263</c:v>
                </c:pt>
                <c:pt idx="1019">
                  <c:v>141.30230760699999</c:v>
                </c:pt>
                <c:pt idx="1020">
                  <c:v>141.52589157599999</c:v>
                </c:pt>
                <c:pt idx="1021">
                  <c:v>142.13315667399999</c:v>
                </c:pt>
                <c:pt idx="1022">
                  <c:v>142.353980347</c:v>
                </c:pt>
                <c:pt idx="1023">
                  <c:v>142.732140886</c:v>
                </c:pt>
                <c:pt idx="1024">
                  <c:v>142.870155681</c:v>
                </c:pt>
                <c:pt idx="1025">
                  <c:v>142.632770233</c:v>
                </c:pt>
                <c:pt idx="1026">
                  <c:v>142.53892017199999</c:v>
                </c:pt>
                <c:pt idx="1027">
                  <c:v>142.809429171</c:v>
                </c:pt>
                <c:pt idx="1028">
                  <c:v>142.188362592</c:v>
                </c:pt>
                <c:pt idx="1029">
                  <c:v>141.58109749400001</c:v>
                </c:pt>
                <c:pt idx="1030">
                  <c:v>141.84332560499999</c:v>
                </c:pt>
                <c:pt idx="1031">
                  <c:v>140.15402451099999</c:v>
                </c:pt>
                <c:pt idx="1032">
                  <c:v>140.11262007299999</c:v>
                </c:pt>
                <c:pt idx="1033">
                  <c:v>137.80777299299999</c:v>
                </c:pt>
                <c:pt idx="1034">
                  <c:v>137.68908026899999</c:v>
                </c:pt>
                <c:pt idx="1035">
                  <c:v>139.16307828199999</c:v>
                </c:pt>
                <c:pt idx="1036">
                  <c:v>138.503367561</c:v>
                </c:pt>
                <c:pt idx="1037">
                  <c:v>140.09053770599999</c:v>
                </c:pt>
                <c:pt idx="1038">
                  <c:v>139.831069891</c:v>
                </c:pt>
                <c:pt idx="1039">
                  <c:v>141.21949873</c:v>
                </c:pt>
                <c:pt idx="1040">
                  <c:v>141.03179860899999</c:v>
                </c:pt>
                <c:pt idx="1041">
                  <c:v>142.93088219099999</c:v>
                </c:pt>
                <c:pt idx="1042">
                  <c:v>143.22071326</c:v>
                </c:pt>
                <c:pt idx="1043">
                  <c:v>142.79562769099999</c:v>
                </c:pt>
                <c:pt idx="1044">
                  <c:v>141.572816606</c:v>
                </c:pt>
                <c:pt idx="1045">
                  <c:v>140.59015126400001</c:v>
                </c:pt>
                <c:pt idx="1046">
                  <c:v>140.67848073299999</c:v>
                </c:pt>
                <c:pt idx="1047">
                  <c:v>141.65838577900001</c:v>
                </c:pt>
                <c:pt idx="1048">
                  <c:v>140.33896433699999</c:v>
                </c:pt>
                <c:pt idx="1049">
                  <c:v>140.101578889</c:v>
                </c:pt>
                <c:pt idx="1050">
                  <c:v>141.05112068</c:v>
                </c:pt>
                <c:pt idx="1051">
                  <c:v>142.25460969400001</c:v>
                </c:pt>
                <c:pt idx="1052">
                  <c:v>142.52787898899999</c:v>
                </c:pt>
                <c:pt idx="1053">
                  <c:v>142.96676603700001</c:v>
                </c:pt>
                <c:pt idx="1054">
                  <c:v>143.57955172800001</c:v>
                </c:pt>
                <c:pt idx="1055">
                  <c:v>142.980567517</c:v>
                </c:pt>
                <c:pt idx="1056">
                  <c:v>143.634757646</c:v>
                </c:pt>
                <c:pt idx="1057">
                  <c:v>143.89422546099999</c:v>
                </c:pt>
                <c:pt idx="1058">
                  <c:v>144.15093297999999</c:v>
                </c:pt>
                <c:pt idx="1059">
                  <c:v>142.74870266100001</c:v>
                </c:pt>
                <c:pt idx="1060">
                  <c:v>143.574031136</c:v>
                </c:pt>
                <c:pt idx="1061">
                  <c:v>143.88870486900001</c:v>
                </c:pt>
                <c:pt idx="1062">
                  <c:v>144.27238600000001</c:v>
                </c:pt>
                <c:pt idx="1063">
                  <c:v>144.722314232</c:v>
                </c:pt>
                <c:pt idx="1064">
                  <c:v>145.38202495300001</c:v>
                </c:pt>
                <c:pt idx="1065">
                  <c:v>145.56972507500001</c:v>
                </c:pt>
                <c:pt idx="1066">
                  <c:v>145.72706194099999</c:v>
                </c:pt>
                <c:pt idx="1067">
                  <c:v>145.097714475</c:v>
                </c:pt>
                <c:pt idx="1068">
                  <c:v>143.69548415599999</c:v>
                </c:pt>
                <c:pt idx="1069">
                  <c:v>144.37175665199999</c:v>
                </c:pt>
                <c:pt idx="1070">
                  <c:v>144.65882742599999</c:v>
                </c:pt>
                <c:pt idx="1071">
                  <c:v>143.286960362</c:v>
                </c:pt>
                <c:pt idx="1072">
                  <c:v>143.32008391299999</c:v>
                </c:pt>
                <c:pt idx="1073">
                  <c:v>143.08269846499999</c:v>
                </c:pt>
                <c:pt idx="1074">
                  <c:v>145.19156453599999</c:v>
                </c:pt>
                <c:pt idx="1075">
                  <c:v>144.810643701</c:v>
                </c:pt>
                <c:pt idx="1076">
                  <c:v>144.49873026399999</c:v>
                </c:pt>
                <c:pt idx="1077">
                  <c:v>145.01214530199999</c:v>
                </c:pt>
                <c:pt idx="1078">
                  <c:v>146.09694159200001</c:v>
                </c:pt>
                <c:pt idx="1079">
                  <c:v>146.453019764</c:v>
                </c:pt>
                <c:pt idx="1080">
                  <c:v>146.604836038</c:v>
                </c:pt>
                <c:pt idx="1081">
                  <c:v>146.210113724</c:v>
                </c:pt>
                <c:pt idx="1082">
                  <c:v>146.207353428</c:v>
                </c:pt>
                <c:pt idx="1083">
                  <c:v>146.74837142499999</c:v>
                </c:pt>
                <c:pt idx="1084">
                  <c:v>146.16594899</c:v>
                </c:pt>
                <c:pt idx="1085">
                  <c:v>146.20459313200001</c:v>
                </c:pt>
                <c:pt idx="1086">
                  <c:v>144.39107872400001</c:v>
                </c:pt>
                <c:pt idx="1087">
                  <c:v>145.37926465699999</c:v>
                </c:pt>
                <c:pt idx="1088">
                  <c:v>145.23572927000001</c:v>
                </c:pt>
                <c:pt idx="1089">
                  <c:v>144.26962570399999</c:v>
                </c:pt>
                <c:pt idx="1090">
                  <c:v>144.21165948999999</c:v>
                </c:pt>
                <c:pt idx="1091">
                  <c:v>144.55669647799999</c:v>
                </c:pt>
                <c:pt idx="1092">
                  <c:v>145.166721873</c:v>
                </c:pt>
                <c:pt idx="1093">
                  <c:v>144.02119907299999</c:v>
                </c:pt>
                <c:pt idx="1094">
                  <c:v>142.71557910999999</c:v>
                </c:pt>
                <c:pt idx="1095">
                  <c:v>142.08623164400001</c:v>
                </c:pt>
                <c:pt idx="1096">
                  <c:v>142.01722424600001</c:v>
                </c:pt>
                <c:pt idx="1097">
                  <c:v>144.059843215</c:v>
                </c:pt>
                <c:pt idx="1098">
                  <c:v>144.33035221399999</c:v>
                </c:pt>
                <c:pt idx="1099">
                  <c:v>143.612675279</c:v>
                </c:pt>
                <c:pt idx="1100">
                  <c:v>142.51683780499999</c:v>
                </c:pt>
                <c:pt idx="1101">
                  <c:v>143.030252843</c:v>
                </c:pt>
                <c:pt idx="1102">
                  <c:v>142.87567627199999</c:v>
                </c:pt>
                <c:pt idx="1103">
                  <c:v>144.377277244</c:v>
                </c:pt>
                <c:pt idx="1104">
                  <c:v>143.960472563</c:v>
                </c:pt>
                <c:pt idx="1105">
                  <c:v>145.72154134900001</c:v>
                </c:pt>
                <c:pt idx="1106">
                  <c:v>145.73810312500001</c:v>
                </c:pt>
                <c:pt idx="1107">
                  <c:v>144.929336425</c:v>
                </c:pt>
                <c:pt idx="1108">
                  <c:v>144.62846417099999</c:v>
                </c:pt>
                <c:pt idx="1109">
                  <c:v>144.22270067400001</c:v>
                </c:pt>
                <c:pt idx="1110">
                  <c:v>141.10356630199999</c:v>
                </c:pt>
                <c:pt idx="1111">
                  <c:v>140.962791211</c:v>
                </c:pt>
                <c:pt idx="1112">
                  <c:v>141.93441536899999</c:v>
                </c:pt>
                <c:pt idx="1113">
                  <c:v>141.93441536899999</c:v>
                </c:pt>
                <c:pt idx="1114">
                  <c:v>141.69702992200001</c:v>
                </c:pt>
                <c:pt idx="1115">
                  <c:v>140.454896765</c:v>
                </c:pt>
                <c:pt idx="1116">
                  <c:v>140.06569504300001</c:v>
                </c:pt>
                <c:pt idx="1117">
                  <c:v>138.622060285</c:v>
                </c:pt>
                <c:pt idx="1118">
                  <c:v>139.51087556600001</c:v>
                </c:pt>
                <c:pt idx="1119">
                  <c:v>141.59765926899999</c:v>
                </c:pt>
                <c:pt idx="1120">
                  <c:v>142.84807331299999</c:v>
                </c:pt>
                <c:pt idx="1121">
                  <c:v>143.701004748</c:v>
                </c:pt>
                <c:pt idx="1122">
                  <c:v>143.64579882999999</c:v>
                </c:pt>
                <c:pt idx="1123">
                  <c:v>144.76371867099999</c:v>
                </c:pt>
                <c:pt idx="1124">
                  <c:v>144.58982002900001</c:v>
                </c:pt>
                <c:pt idx="1125">
                  <c:v>144.72507452799999</c:v>
                </c:pt>
                <c:pt idx="1126">
                  <c:v>144.415921387</c:v>
                </c:pt>
                <c:pt idx="1127">
                  <c:v>143.48846196299999</c:v>
                </c:pt>
                <c:pt idx="1128">
                  <c:v>143.248316219</c:v>
                </c:pt>
                <c:pt idx="1129">
                  <c:v>141.901291818</c:v>
                </c:pt>
                <c:pt idx="1130">
                  <c:v>140.89378381399999</c:v>
                </c:pt>
                <c:pt idx="1131">
                  <c:v>141.93717566500001</c:v>
                </c:pt>
                <c:pt idx="1132">
                  <c:v>143.01369106800001</c:v>
                </c:pt>
                <c:pt idx="1133">
                  <c:v>142.93088219099999</c:v>
                </c:pt>
                <c:pt idx="1134">
                  <c:v>143.474660484</c:v>
                </c:pt>
                <c:pt idx="1135">
                  <c:v>143.148945567</c:v>
                </c:pt>
                <c:pt idx="1136">
                  <c:v>142.9916087</c:v>
                </c:pt>
                <c:pt idx="1137">
                  <c:v>143.29800154599999</c:v>
                </c:pt>
                <c:pt idx="1138">
                  <c:v>142.55548194799999</c:v>
                </c:pt>
                <c:pt idx="1139">
                  <c:v>142.12487578700001</c:v>
                </c:pt>
                <c:pt idx="1140">
                  <c:v>143.673401789</c:v>
                </c:pt>
                <c:pt idx="1141">
                  <c:v>142.30153472500001</c:v>
                </c:pt>
                <c:pt idx="1142">
                  <c:v>141.68598873799999</c:v>
                </c:pt>
                <c:pt idx="1143">
                  <c:v>141.721872585</c:v>
                </c:pt>
                <c:pt idx="1144">
                  <c:v>141.92061389</c:v>
                </c:pt>
                <c:pt idx="1145">
                  <c:v>142.367781826</c:v>
                </c:pt>
                <c:pt idx="1146">
                  <c:v>142.019984542</c:v>
                </c:pt>
                <c:pt idx="1147">
                  <c:v>140.52942475399999</c:v>
                </c:pt>
                <c:pt idx="1148">
                  <c:v>138.23285856199999</c:v>
                </c:pt>
                <c:pt idx="1149">
                  <c:v>134.503698797</c:v>
                </c:pt>
                <c:pt idx="1150">
                  <c:v>129.562769129</c:v>
                </c:pt>
                <c:pt idx="1151">
                  <c:v>129.129402672</c:v>
                </c:pt>
                <c:pt idx="1152">
                  <c:v>131.72960141300001</c:v>
                </c:pt>
                <c:pt idx="1153">
                  <c:v>134.42917080699999</c:v>
                </c:pt>
                <c:pt idx="1154">
                  <c:v>135.097162416</c:v>
                </c:pt>
                <c:pt idx="1155">
                  <c:v>134.08689411500001</c:v>
                </c:pt>
                <c:pt idx="1156">
                  <c:v>130.49022855300001</c:v>
                </c:pt>
                <c:pt idx="1157">
                  <c:v>131.65507342399999</c:v>
                </c:pt>
                <c:pt idx="1158">
                  <c:v>132.25957822699999</c:v>
                </c:pt>
                <c:pt idx="1159">
                  <c:v>130.056862096</c:v>
                </c:pt>
                <c:pt idx="1160">
                  <c:v>130.32185050199999</c:v>
                </c:pt>
                <c:pt idx="1161">
                  <c:v>132.535607817</c:v>
                </c:pt>
                <c:pt idx="1162">
                  <c:v>132.792315336</c:v>
                </c:pt>
                <c:pt idx="1163">
                  <c:v>132.53836811299999</c:v>
                </c:pt>
                <c:pt idx="1164">
                  <c:v>132.684663796</c:v>
                </c:pt>
                <c:pt idx="1165">
                  <c:v>132.14916639099999</c:v>
                </c:pt>
                <c:pt idx="1166">
                  <c:v>133.20912001799999</c:v>
                </c:pt>
                <c:pt idx="1167">
                  <c:v>134.79629016199999</c:v>
                </c:pt>
                <c:pt idx="1168">
                  <c:v>134.774207795</c:v>
                </c:pt>
                <c:pt idx="1169">
                  <c:v>133.01313900900001</c:v>
                </c:pt>
                <c:pt idx="1170">
                  <c:v>132.84752125399999</c:v>
                </c:pt>
                <c:pt idx="1171">
                  <c:v>130.58131831700001</c:v>
                </c:pt>
                <c:pt idx="1172">
                  <c:v>130.26664458400001</c:v>
                </c:pt>
                <c:pt idx="1173">
                  <c:v>129.51032350700001</c:v>
                </c:pt>
                <c:pt idx="1174">
                  <c:v>130.16175333999999</c:v>
                </c:pt>
                <c:pt idx="1175">
                  <c:v>127.528431048</c:v>
                </c:pt>
                <c:pt idx="1176">
                  <c:v>126.634095175</c:v>
                </c:pt>
                <c:pt idx="1177">
                  <c:v>129.20669095700001</c:v>
                </c:pt>
                <c:pt idx="1178">
                  <c:v>129.761510434</c:v>
                </c:pt>
                <c:pt idx="1179">
                  <c:v>131.26311140600001</c:v>
                </c:pt>
                <c:pt idx="1180">
                  <c:v>133.68941150500001</c:v>
                </c:pt>
                <c:pt idx="1181">
                  <c:v>133.957160208</c:v>
                </c:pt>
                <c:pt idx="1182">
                  <c:v>134.928784366</c:v>
                </c:pt>
                <c:pt idx="1183">
                  <c:v>135.712708402</c:v>
                </c:pt>
                <c:pt idx="1184">
                  <c:v>136.573920724</c:v>
                </c:pt>
                <c:pt idx="1185">
                  <c:v>136.642928122</c:v>
                </c:pt>
                <c:pt idx="1186">
                  <c:v>135.563652424</c:v>
                </c:pt>
                <c:pt idx="1187">
                  <c:v>134.89566081500001</c:v>
                </c:pt>
                <c:pt idx="1188">
                  <c:v>136.761620846</c:v>
                </c:pt>
                <c:pt idx="1189">
                  <c:v>137.41857127099999</c:v>
                </c:pt>
                <c:pt idx="1190">
                  <c:v>137.128740201</c:v>
                </c:pt>
                <c:pt idx="1191">
                  <c:v>136.960362151</c:v>
                </c:pt>
                <c:pt idx="1192">
                  <c:v>136.68985315200001</c:v>
                </c:pt>
                <c:pt idx="1193">
                  <c:v>137.97615104299999</c:v>
                </c:pt>
                <c:pt idx="1194">
                  <c:v>139.378381362</c:v>
                </c:pt>
                <c:pt idx="1195">
                  <c:v>139.267969526</c:v>
                </c:pt>
                <c:pt idx="1196">
                  <c:v>138.572374959</c:v>
                </c:pt>
                <c:pt idx="1197">
                  <c:v>139.97460527800001</c:v>
                </c:pt>
                <c:pt idx="1198">
                  <c:v>139.35905929099999</c:v>
                </c:pt>
                <c:pt idx="1199">
                  <c:v>139.35905929099999</c:v>
                </c:pt>
                <c:pt idx="1200">
                  <c:v>140.03257149199999</c:v>
                </c:pt>
                <c:pt idx="1201">
                  <c:v>140.17058628699999</c:v>
                </c:pt>
                <c:pt idx="1202">
                  <c:v>139.894556696</c:v>
                </c:pt>
                <c:pt idx="1203">
                  <c:v>139.720658055</c:v>
                </c:pt>
                <c:pt idx="1204">
                  <c:v>139.19068124099999</c:v>
                </c:pt>
                <c:pt idx="1205">
                  <c:v>138.20525560300001</c:v>
                </c:pt>
                <c:pt idx="1206">
                  <c:v>138.14452909400001</c:v>
                </c:pt>
                <c:pt idx="1207">
                  <c:v>138.318427735</c:v>
                </c:pt>
                <c:pt idx="1208">
                  <c:v>136.72573699899999</c:v>
                </c:pt>
                <c:pt idx="1209">
                  <c:v>135.35939052699999</c:v>
                </c:pt>
                <c:pt idx="1210">
                  <c:v>136.36137794000001</c:v>
                </c:pt>
                <c:pt idx="1211">
                  <c:v>137.14530197600001</c:v>
                </c:pt>
                <c:pt idx="1212">
                  <c:v>138.32118803099999</c:v>
                </c:pt>
                <c:pt idx="1213">
                  <c:v>139.149276802</c:v>
                </c:pt>
                <c:pt idx="1214">
                  <c:v>139.33973721999999</c:v>
                </c:pt>
                <c:pt idx="1215">
                  <c:v>138.87600750799999</c:v>
                </c:pt>
                <c:pt idx="1216">
                  <c:v>138.68830738700001</c:v>
                </c:pt>
                <c:pt idx="1217">
                  <c:v>138.870486916</c:v>
                </c:pt>
                <c:pt idx="1218">
                  <c:v>139.39218284200001</c:v>
                </c:pt>
                <c:pt idx="1219">
                  <c:v>139.11891354799999</c:v>
                </c:pt>
                <c:pt idx="1220">
                  <c:v>138.63310146800001</c:v>
                </c:pt>
                <c:pt idx="1221">
                  <c:v>139.92215965599999</c:v>
                </c:pt>
                <c:pt idx="1222">
                  <c:v>138.84840454900001</c:v>
                </c:pt>
                <c:pt idx="1223">
                  <c:v>137.43237275000001</c:v>
                </c:pt>
                <c:pt idx="1224">
                  <c:v>138.710389754</c:v>
                </c:pt>
                <c:pt idx="1225">
                  <c:v>138.14728938900001</c:v>
                </c:pt>
                <c:pt idx="1226">
                  <c:v>136.82510765200001</c:v>
                </c:pt>
                <c:pt idx="1227">
                  <c:v>136.34481616400001</c:v>
                </c:pt>
                <c:pt idx="1228">
                  <c:v>136.297891134</c:v>
                </c:pt>
                <c:pt idx="1229">
                  <c:v>134.249751573</c:v>
                </c:pt>
                <c:pt idx="1230">
                  <c:v>133.802583637</c:v>
                </c:pt>
                <c:pt idx="1231">
                  <c:v>134.92602407000001</c:v>
                </c:pt>
                <c:pt idx="1232">
                  <c:v>136.72849729500001</c:v>
                </c:pt>
                <c:pt idx="1233">
                  <c:v>135.701667219</c:v>
                </c:pt>
                <c:pt idx="1234">
                  <c:v>133.957160208</c:v>
                </c:pt>
                <c:pt idx="1235">
                  <c:v>134.37396488900001</c:v>
                </c:pt>
                <c:pt idx="1236">
                  <c:v>135.27382135400001</c:v>
                </c:pt>
                <c:pt idx="1237">
                  <c:v>136.968643039</c:v>
                </c:pt>
                <c:pt idx="1238">
                  <c:v>137.186706415</c:v>
                </c:pt>
                <c:pt idx="1239">
                  <c:v>136.88583416099999</c:v>
                </c:pt>
                <c:pt idx="1240">
                  <c:v>138.17765264400001</c:v>
                </c:pt>
                <c:pt idx="1241">
                  <c:v>137.47653748499999</c:v>
                </c:pt>
                <c:pt idx="1242">
                  <c:v>136.386220603</c:v>
                </c:pt>
                <c:pt idx="1243">
                  <c:v>133.74461742299999</c:v>
                </c:pt>
                <c:pt idx="1244">
                  <c:v>133.714254168</c:v>
                </c:pt>
                <c:pt idx="1245">
                  <c:v>132.107761952</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c:formatCode>
                <c:ptCount val="1246"/>
                <c:pt idx="0">
                  <c:v>40602</c:v>
                </c:pt>
                <c:pt idx="1">
                  <c:v>40603</c:v>
                </c:pt>
                <c:pt idx="2">
                  <c:v>40604</c:v>
                </c:pt>
                <c:pt idx="3">
                  <c:v>40605</c:v>
                </c:pt>
                <c:pt idx="4">
                  <c:v>40606</c:v>
                </c:pt>
                <c:pt idx="5">
                  <c:v>40609</c:v>
                </c:pt>
                <c:pt idx="6">
                  <c:v>40610</c:v>
                </c:pt>
                <c:pt idx="7">
                  <c:v>40611</c:v>
                </c:pt>
                <c:pt idx="8">
                  <c:v>40612</c:v>
                </c:pt>
                <c:pt idx="9">
                  <c:v>40613</c:v>
                </c:pt>
                <c:pt idx="10">
                  <c:v>40616</c:v>
                </c:pt>
                <c:pt idx="11">
                  <c:v>40617</c:v>
                </c:pt>
                <c:pt idx="12">
                  <c:v>40618</c:v>
                </c:pt>
                <c:pt idx="13">
                  <c:v>40619</c:v>
                </c:pt>
                <c:pt idx="14">
                  <c:v>40620</c:v>
                </c:pt>
                <c:pt idx="15">
                  <c:v>40623</c:v>
                </c:pt>
                <c:pt idx="16">
                  <c:v>40624</c:v>
                </c:pt>
                <c:pt idx="17">
                  <c:v>40625</c:v>
                </c:pt>
                <c:pt idx="18">
                  <c:v>40626</c:v>
                </c:pt>
                <c:pt idx="19">
                  <c:v>40627</c:v>
                </c:pt>
                <c:pt idx="20">
                  <c:v>40630</c:v>
                </c:pt>
                <c:pt idx="21">
                  <c:v>40631</c:v>
                </c:pt>
                <c:pt idx="22">
                  <c:v>40632</c:v>
                </c:pt>
                <c:pt idx="23">
                  <c:v>40633</c:v>
                </c:pt>
                <c:pt idx="24">
                  <c:v>40634</c:v>
                </c:pt>
                <c:pt idx="25">
                  <c:v>40637</c:v>
                </c:pt>
                <c:pt idx="26">
                  <c:v>40638</c:v>
                </c:pt>
                <c:pt idx="27">
                  <c:v>40639</c:v>
                </c:pt>
                <c:pt idx="28">
                  <c:v>40640</c:v>
                </c:pt>
                <c:pt idx="29">
                  <c:v>40641</c:v>
                </c:pt>
                <c:pt idx="30">
                  <c:v>40644</c:v>
                </c:pt>
                <c:pt idx="31">
                  <c:v>40645</c:v>
                </c:pt>
                <c:pt idx="32">
                  <c:v>40646</c:v>
                </c:pt>
                <c:pt idx="33">
                  <c:v>40647</c:v>
                </c:pt>
                <c:pt idx="34">
                  <c:v>40648</c:v>
                </c:pt>
                <c:pt idx="35">
                  <c:v>40651</c:v>
                </c:pt>
                <c:pt idx="36">
                  <c:v>40652</c:v>
                </c:pt>
                <c:pt idx="37">
                  <c:v>40653</c:v>
                </c:pt>
                <c:pt idx="38">
                  <c:v>40654</c:v>
                </c:pt>
                <c:pt idx="39">
                  <c:v>40659</c:v>
                </c:pt>
                <c:pt idx="40">
                  <c:v>40660</c:v>
                </c:pt>
                <c:pt idx="41">
                  <c:v>40661</c:v>
                </c:pt>
                <c:pt idx="42">
                  <c:v>40662</c:v>
                </c:pt>
                <c:pt idx="43">
                  <c:v>40665</c:v>
                </c:pt>
                <c:pt idx="44">
                  <c:v>40666</c:v>
                </c:pt>
                <c:pt idx="45">
                  <c:v>40667</c:v>
                </c:pt>
                <c:pt idx="46">
                  <c:v>40668</c:v>
                </c:pt>
                <c:pt idx="47">
                  <c:v>40669</c:v>
                </c:pt>
                <c:pt idx="48">
                  <c:v>40672</c:v>
                </c:pt>
                <c:pt idx="49">
                  <c:v>40673</c:v>
                </c:pt>
                <c:pt idx="50">
                  <c:v>40674</c:v>
                </c:pt>
                <c:pt idx="51">
                  <c:v>40675</c:v>
                </c:pt>
                <c:pt idx="52">
                  <c:v>40676</c:v>
                </c:pt>
                <c:pt idx="53">
                  <c:v>40679</c:v>
                </c:pt>
                <c:pt idx="54">
                  <c:v>40680</c:v>
                </c:pt>
                <c:pt idx="55">
                  <c:v>40681</c:v>
                </c:pt>
                <c:pt idx="56">
                  <c:v>40682</c:v>
                </c:pt>
                <c:pt idx="57">
                  <c:v>40683</c:v>
                </c:pt>
                <c:pt idx="58">
                  <c:v>40686</c:v>
                </c:pt>
                <c:pt idx="59">
                  <c:v>40687</c:v>
                </c:pt>
                <c:pt idx="60">
                  <c:v>40688</c:v>
                </c:pt>
                <c:pt idx="61">
                  <c:v>40689</c:v>
                </c:pt>
                <c:pt idx="62">
                  <c:v>40690</c:v>
                </c:pt>
                <c:pt idx="63">
                  <c:v>40693</c:v>
                </c:pt>
                <c:pt idx="64">
                  <c:v>40694</c:v>
                </c:pt>
                <c:pt idx="65">
                  <c:v>40695</c:v>
                </c:pt>
                <c:pt idx="66">
                  <c:v>40696</c:v>
                </c:pt>
                <c:pt idx="67">
                  <c:v>40697</c:v>
                </c:pt>
                <c:pt idx="68">
                  <c:v>40700</c:v>
                </c:pt>
                <c:pt idx="69">
                  <c:v>40701</c:v>
                </c:pt>
                <c:pt idx="70">
                  <c:v>40702</c:v>
                </c:pt>
                <c:pt idx="71">
                  <c:v>40703</c:v>
                </c:pt>
                <c:pt idx="72">
                  <c:v>40704</c:v>
                </c:pt>
                <c:pt idx="73">
                  <c:v>40707</c:v>
                </c:pt>
                <c:pt idx="74">
                  <c:v>40708</c:v>
                </c:pt>
                <c:pt idx="75">
                  <c:v>40709</c:v>
                </c:pt>
                <c:pt idx="76">
                  <c:v>40710</c:v>
                </c:pt>
                <c:pt idx="77">
                  <c:v>40711</c:v>
                </c:pt>
                <c:pt idx="78">
                  <c:v>40714</c:v>
                </c:pt>
                <c:pt idx="79">
                  <c:v>40715</c:v>
                </c:pt>
                <c:pt idx="80">
                  <c:v>40716</c:v>
                </c:pt>
                <c:pt idx="81">
                  <c:v>40717</c:v>
                </c:pt>
                <c:pt idx="82">
                  <c:v>40718</c:v>
                </c:pt>
                <c:pt idx="83">
                  <c:v>40721</c:v>
                </c:pt>
                <c:pt idx="84">
                  <c:v>40722</c:v>
                </c:pt>
                <c:pt idx="85">
                  <c:v>40723</c:v>
                </c:pt>
                <c:pt idx="86">
                  <c:v>40724</c:v>
                </c:pt>
                <c:pt idx="87">
                  <c:v>40725</c:v>
                </c:pt>
                <c:pt idx="88">
                  <c:v>40728</c:v>
                </c:pt>
                <c:pt idx="89">
                  <c:v>40729</c:v>
                </c:pt>
                <c:pt idx="90">
                  <c:v>40730</c:v>
                </c:pt>
                <c:pt idx="91">
                  <c:v>40731</c:v>
                </c:pt>
                <c:pt idx="92">
                  <c:v>40732</c:v>
                </c:pt>
                <c:pt idx="93">
                  <c:v>40735</c:v>
                </c:pt>
                <c:pt idx="94">
                  <c:v>40736</c:v>
                </c:pt>
                <c:pt idx="95">
                  <c:v>40737</c:v>
                </c:pt>
                <c:pt idx="96">
                  <c:v>40738</c:v>
                </c:pt>
                <c:pt idx="97">
                  <c:v>40739</c:v>
                </c:pt>
                <c:pt idx="98">
                  <c:v>40742</c:v>
                </c:pt>
                <c:pt idx="99">
                  <c:v>40743</c:v>
                </c:pt>
                <c:pt idx="100">
                  <c:v>40744</c:v>
                </c:pt>
                <c:pt idx="101">
                  <c:v>40745</c:v>
                </c:pt>
                <c:pt idx="102">
                  <c:v>40746</c:v>
                </c:pt>
                <c:pt idx="103">
                  <c:v>40749</c:v>
                </c:pt>
                <c:pt idx="104">
                  <c:v>40750</c:v>
                </c:pt>
                <c:pt idx="105">
                  <c:v>40751</c:v>
                </c:pt>
                <c:pt idx="106">
                  <c:v>40752</c:v>
                </c:pt>
                <c:pt idx="107">
                  <c:v>40753</c:v>
                </c:pt>
                <c:pt idx="108">
                  <c:v>40756</c:v>
                </c:pt>
                <c:pt idx="109">
                  <c:v>40757</c:v>
                </c:pt>
                <c:pt idx="110">
                  <c:v>40758</c:v>
                </c:pt>
                <c:pt idx="111">
                  <c:v>40759</c:v>
                </c:pt>
                <c:pt idx="112">
                  <c:v>40760</c:v>
                </c:pt>
                <c:pt idx="113">
                  <c:v>40763</c:v>
                </c:pt>
                <c:pt idx="114">
                  <c:v>40764</c:v>
                </c:pt>
                <c:pt idx="115">
                  <c:v>40765</c:v>
                </c:pt>
                <c:pt idx="116">
                  <c:v>40766</c:v>
                </c:pt>
                <c:pt idx="117">
                  <c:v>40767</c:v>
                </c:pt>
                <c:pt idx="118">
                  <c:v>40770</c:v>
                </c:pt>
                <c:pt idx="119">
                  <c:v>40771</c:v>
                </c:pt>
                <c:pt idx="120">
                  <c:v>40772</c:v>
                </c:pt>
                <c:pt idx="121">
                  <c:v>40773</c:v>
                </c:pt>
                <c:pt idx="122">
                  <c:v>40774</c:v>
                </c:pt>
                <c:pt idx="123">
                  <c:v>40777</c:v>
                </c:pt>
                <c:pt idx="124">
                  <c:v>40778</c:v>
                </c:pt>
                <c:pt idx="125">
                  <c:v>40779</c:v>
                </c:pt>
                <c:pt idx="126">
                  <c:v>40780</c:v>
                </c:pt>
                <c:pt idx="127">
                  <c:v>40781</c:v>
                </c:pt>
                <c:pt idx="128">
                  <c:v>40784</c:v>
                </c:pt>
                <c:pt idx="129">
                  <c:v>40785</c:v>
                </c:pt>
                <c:pt idx="130">
                  <c:v>40786</c:v>
                </c:pt>
                <c:pt idx="131">
                  <c:v>40787</c:v>
                </c:pt>
                <c:pt idx="132">
                  <c:v>40788</c:v>
                </c:pt>
                <c:pt idx="133">
                  <c:v>40791</c:v>
                </c:pt>
                <c:pt idx="134">
                  <c:v>40792</c:v>
                </c:pt>
                <c:pt idx="135">
                  <c:v>40793</c:v>
                </c:pt>
                <c:pt idx="136">
                  <c:v>40794</c:v>
                </c:pt>
                <c:pt idx="137">
                  <c:v>40795</c:v>
                </c:pt>
                <c:pt idx="138">
                  <c:v>40798</c:v>
                </c:pt>
                <c:pt idx="139">
                  <c:v>40799</c:v>
                </c:pt>
                <c:pt idx="140">
                  <c:v>40800</c:v>
                </c:pt>
                <c:pt idx="141">
                  <c:v>40801</c:v>
                </c:pt>
                <c:pt idx="142">
                  <c:v>40802</c:v>
                </c:pt>
                <c:pt idx="143">
                  <c:v>40805</c:v>
                </c:pt>
                <c:pt idx="144">
                  <c:v>40806</c:v>
                </c:pt>
                <c:pt idx="145">
                  <c:v>40807</c:v>
                </c:pt>
                <c:pt idx="146">
                  <c:v>40808</c:v>
                </c:pt>
                <c:pt idx="147">
                  <c:v>40809</c:v>
                </c:pt>
                <c:pt idx="148">
                  <c:v>40812</c:v>
                </c:pt>
                <c:pt idx="149">
                  <c:v>40813</c:v>
                </c:pt>
                <c:pt idx="150">
                  <c:v>40814</c:v>
                </c:pt>
                <c:pt idx="151">
                  <c:v>40815</c:v>
                </c:pt>
                <c:pt idx="152">
                  <c:v>40816</c:v>
                </c:pt>
                <c:pt idx="153">
                  <c:v>40819</c:v>
                </c:pt>
                <c:pt idx="154">
                  <c:v>40820</c:v>
                </c:pt>
                <c:pt idx="155">
                  <c:v>40821</c:v>
                </c:pt>
                <c:pt idx="156">
                  <c:v>40822</c:v>
                </c:pt>
                <c:pt idx="157">
                  <c:v>40823</c:v>
                </c:pt>
                <c:pt idx="158">
                  <c:v>40826</c:v>
                </c:pt>
                <c:pt idx="159">
                  <c:v>40827</c:v>
                </c:pt>
                <c:pt idx="160">
                  <c:v>40828</c:v>
                </c:pt>
                <c:pt idx="161">
                  <c:v>40829</c:v>
                </c:pt>
                <c:pt idx="162">
                  <c:v>40830</c:v>
                </c:pt>
                <c:pt idx="163">
                  <c:v>40833</c:v>
                </c:pt>
                <c:pt idx="164">
                  <c:v>40834</c:v>
                </c:pt>
                <c:pt idx="165">
                  <c:v>40835</c:v>
                </c:pt>
                <c:pt idx="166">
                  <c:v>40836</c:v>
                </c:pt>
                <c:pt idx="167">
                  <c:v>40837</c:v>
                </c:pt>
                <c:pt idx="168">
                  <c:v>40840</c:v>
                </c:pt>
                <c:pt idx="169">
                  <c:v>40841</c:v>
                </c:pt>
                <c:pt idx="170">
                  <c:v>40842</c:v>
                </c:pt>
                <c:pt idx="171">
                  <c:v>40843</c:v>
                </c:pt>
                <c:pt idx="172">
                  <c:v>40844</c:v>
                </c:pt>
                <c:pt idx="173">
                  <c:v>40847</c:v>
                </c:pt>
                <c:pt idx="174">
                  <c:v>40848</c:v>
                </c:pt>
                <c:pt idx="175">
                  <c:v>40849</c:v>
                </c:pt>
                <c:pt idx="176">
                  <c:v>40850</c:v>
                </c:pt>
                <c:pt idx="177">
                  <c:v>40851</c:v>
                </c:pt>
                <c:pt idx="178">
                  <c:v>40854</c:v>
                </c:pt>
                <c:pt idx="179">
                  <c:v>40855</c:v>
                </c:pt>
                <c:pt idx="180">
                  <c:v>40856</c:v>
                </c:pt>
                <c:pt idx="181">
                  <c:v>40857</c:v>
                </c:pt>
                <c:pt idx="182">
                  <c:v>40858</c:v>
                </c:pt>
                <c:pt idx="183">
                  <c:v>40861</c:v>
                </c:pt>
                <c:pt idx="184">
                  <c:v>40862</c:v>
                </c:pt>
                <c:pt idx="185">
                  <c:v>40863</c:v>
                </c:pt>
                <c:pt idx="186">
                  <c:v>40864</c:v>
                </c:pt>
                <c:pt idx="187">
                  <c:v>40865</c:v>
                </c:pt>
                <c:pt idx="188">
                  <c:v>40868</c:v>
                </c:pt>
                <c:pt idx="189">
                  <c:v>40869</c:v>
                </c:pt>
                <c:pt idx="190">
                  <c:v>40870</c:v>
                </c:pt>
                <c:pt idx="191">
                  <c:v>40871</c:v>
                </c:pt>
                <c:pt idx="192">
                  <c:v>40872</c:v>
                </c:pt>
                <c:pt idx="193">
                  <c:v>40875</c:v>
                </c:pt>
                <c:pt idx="194">
                  <c:v>40876</c:v>
                </c:pt>
                <c:pt idx="195">
                  <c:v>40877</c:v>
                </c:pt>
                <c:pt idx="196">
                  <c:v>40878</c:v>
                </c:pt>
                <c:pt idx="197">
                  <c:v>40879</c:v>
                </c:pt>
                <c:pt idx="198">
                  <c:v>40882</c:v>
                </c:pt>
                <c:pt idx="199">
                  <c:v>40883</c:v>
                </c:pt>
                <c:pt idx="200">
                  <c:v>40884</c:v>
                </c:pt>
                <c:pt idx="201">
                  <c:v>40885</c:v>
                </c:pt>
                <c:pt idx="202">
                  <c:v>40886</c:v>
                </c:pt>
                <c:pt idx="203">
                  <c:v>40889</c:v>
                </c:pt>
                <c:pt idx="204">
                  <c:v>40890</c:v>
                </c:pt>
                <c:pt idx="205">
                  <c:v>40891</c:v>
                </c:pt>
                <c:pt idx="206">
                  <c:v>40892</c:v>
                </c:pt>
                <c:pt idx="207">
                  <c:v>40893</c:v>
                </c:pt>
                <c:pt idx="208">
                  <c:v>40896</c:v>
                </c:pt>
                <c:pt idx="209">
                  <c:v>40897</c:v>
                </c:pt>
                <c:pt idx="210">
                  <c:v>40898</c:v>
                </c:pt>
                <c:pt idx="211">
                  <c:v>40899</c:v>
                </c:pt>
                <c:pt idx="212">
                  <c:v>40900</c:v>
                </c:pt>
                <c:pt idx="213">
                  <c:v>40904</c:v>
                </c:pt>
                <c:pt idx="214">
                  <c:v>40905</c:v>
                </c:pt>
                <c:pt idx="215">
                  <c:v>40906</c:v>
                </c:pt>
                <c:pt idx="216">
                  <c:v>40907</c:v>
                </c:pt>
                <c:pt idx="217">
                  <c:v>40910</c:v>
                </c:pt>
                <c:pt idx="218">
                  <c:v>40911</c:v>
                </c:pt>
                <c:pt idx="219">
                  <c:v>40912</c:v>
                </c:pt>
                <c:pt idx="220">
                  <c:v>40913</c:v>
                </c:pt>
                <c:pt idx="221">
                  <c:v>40914</c:v>
                </c:pt>
                <c:pt idx="222">
                  <c:v>40917</c:v>
                </c:pt>
                <c:pt idx="223">
                  <c:v>40918</c:v>
                </c:pt>
                <c:pt idx="224">
                  <c:v>40919</c:v>
                </c:pt>
                <c:pt idx="225">
                  <c:v>40920</c:v>
                </c:pt>
                <c:pt idx="226">
                  <c:v>40921</c:v>
                </c:pt>
                <c:pt idx="227">
                  <c:v>40924</c:v>
                </c:pt>
                <c:pt idx="228">
                  <c:v>40925</c:v>
                </c:pt>
                <c:pt idx="229">
                  <c:v>40926</c:v>
                </c:pt>
                <c:pt idx="230">
                  <c:v>40927</c:v>
                </c:pt>
                <c:pt idx="231">
                  <c:v>40928</c:v>
                </c:pt>
                <c:pt idx="232">
                  <c:v>40931</c:v>
                </c:pt>
                <c:pt idx="233">
                  <c:v>40932</c:v>
                </c:pt>
                <c:pt idx="234">
                  <c:v>40933</c:v>
                </c:pt>
                <c:pt idx="235">
                  <c:v>40934</c:v>
                </c:pt>
                <c:pt idx="236">
                  <c:v>40935</c:v>
                </c:pt>
                <c:pt idx="237">
                  <c:v>40938</c:v>
                </c:pt>
                <c:pt idx="238">
                  <c:v>40939</c:v>
                </c:pt>
                <c:pt idx="239">
                  <c:v>40940</c:v>
                </c:pt>
                <c:pt idx="240">
                  <c:v>40941</c:v>
                </c:pt>
                <c:pt idx="241">
                  <c:v>40942</c:v>
                </c:pt>
                <c:pt idx="242">
                  <c:v>40945</c:v>
                </c:pt>
                <c:pt idx="243">
                  <c:v>40946</c:v>
                </c:pt>
                <c:pt idx="244">
                  <c:v>40947</c:v>
                </c:pt>
                <c:pt idx="245">
                  <c:v>40948</c:v>
                </c:pt>
                <c:pt idx="246">
                  <c:v>40949</c:v>
                </c:pt>
                <c:pt idx="247">
                  <c:v>40952</c:v>
                </c:pt>
                <c:pt idx="248">
                  <c:v>40953</c:v>
                </c:pt>
                <c:pt idx="249">
                  <c:v>40954</c:v>
                </c:pt>
                <c:pt idx="250">
                  <c:v>40955</c:v>
                </c:pt>
                <c:pt idx="251">
                  <c:v>40956</c:v>
                </c:pt>
                <c:pt idx="252">
                  <c:v>40959</c:v>
                </c:pt>
                <c:pt idx="253">
                  <c:v>40960</c:v>
                </c:pt>
                <c:pt idx="254">
                  <c:v>40961</c:v>
                </c:pt>
                <c:pt idx="255">
                  <c:v>40962</c:v>
                </c:pt>
                <c:pt idx="256">
                  <c:v>40963</c:v>
                </c:pt>
                <c:pt idx="257">
                  <c:v>40966</c:v>
                </c:pt>
                <c:pt idx="258">
                  <c:v>40967</c:v>
                </c:pt>
                <c:pt idx="259">
                  <c:v>40968</c:v>
                </c:pt>
                <c:pt idx="260">
                  <c:v>40969</c:v>
                </c:pt>
                <c:pt idx="261">
                  <c:v>40970</c:v>
                </c:pt>
                <c:pt idx="262">
                  <c:v>40973</c:v>
                </c:pt>
                <c:pt idx="263">
                  <c:v>40974</c:v>
                </c:pt>
                <c:pt idx="264">
                  <c:v>40975</c:v>
                </c:pt>
                <c:pt idx="265">
                  <c:v>40976</c:v>
                </c:pt>
                <c:pt idx="266">
                  <c:v>40977</c:v>
                </c:pt>
                <c:pt idx="267">
                  <c:v>40980</c:v>
                </c:pt>
                <c:pt idx="268">
                  <c:v>40981</c:v>
                </c:pt>
                <c:pt idx="269">
                  <c:v>40982</c:v>
                </c:pt>
                <c:pt idx="270">
                  <c:v>40983</c:v>
                </c:pt>
                <c:pt idx="271">
                  <c:v>40984</c:v>
                </c:pt>
                <c:pt idx="272">
                  <c:v>40987</c:v>
                </c:pt>
                <c:pt idx="273">
                  <c:v>40988</c:v>
                </c:pt>
                <c:pt idx="274">
                  <c:v>40989</c:v>
                </c:pt>
                <c:pt idx="275">
                  <c:v>40990</c:v>
                </c:pt>
                <c:pt idx="276">
                  <c:v>40991</c:v>
                </c:pt>
                <c:pt idx="277">
                  <c:v>40994</c:v>
                </c:pt>
                <c:pt idx="278">
                  <c:v>40995</c:v>
                </c:pt>
                <c:pt idx="279">
                  <c:v>40996</c:v>
                </c:pt>
                <c:pt idx="280">
                  <c:v>40997</c:v>
                </c:pt>
                <c:pt idx="281">
                  <c:v>40998</c:v>
                </c:pt>
                <c:pt idx="282">
                  <c:v>41001</c:v>
                </c:pt>
                <c:pt idx="283">
                  <c:v>41002</c:v>
                </c:pt>
                <c:pt idx="284">
                  <c:v>41003</c:v>
                </c:pt>
                <c:pt idx="285">
                  <c:v>41004</c:v>
                </c:pt>
                <c:pt idx="286">
                  <c:v>41009</c:v>
                </c:pt>
                <c:pt idx="287">
                  <c:v>41010</c:v>
                </c:pt>
                <c:pt idx="288">
                  <c:v>41011</c:v>
                </c:pt>
                <c:pt idx="289">
                  <c:v>41012</c:v>
                </c:pt>
                <c:pt idx="290">
                  <c:v>41015</c:v>
                </c:pt>
                <c:pt idx="291">
                  <c:v>41016</c:v>
                </c:pt>
                <c:pt idx="292">
                  <c:v>41017</c:v>
                </c:pt>
                <c:pt idx="293">
                  <c:v>41018</c:v>
                </c:pt>
                <c:pt idx="294">
                  <c:v>41019</c:v>
                </c:pt>
                <c:pt idx="295">
                  <c:v>41022</c:v>
                </c:pt>
                <c:pt idx="296">
                  <c:v>41023</c:v>
                </c:pt>
                <c:pt idx="297">
                  <c:v>41024</c:v>
                </c:pt>
                <c:pt idx="298">
                  <c:v>41025</c:v>
                </c:pt>
                <c:pt idx="299">
                  <c:v>41026</c:v>
                </c:pt>
                <c:pt idx="300">
                  <c:v>41029</c:v>
                </c:pt>
                <c:pt idx="301">
                  <c:v>41030</c:v>
                </c:pt>
                <c:pt idx="302">
                  <c:v>41031</c:v>
                </c:pt>
                <c:pt idx="303">
                  <c:v>41032</c:v>
                </c:pt>
                <c:pt idx="304">
                  <c:v>41033</c:v>
                </c:pt>
                <c:pt idx="305">
                  <c:v>41036</c:v>
                </c:pt>
                <c:pt idx="306">
                  <c:v>41037</c:v>
                </c:pt>
                <c:pt idx="307">
                  <c:v>41038</c:v>
                </c:pt>
                <c:pt idx="308">
                  <c:v>41039</c:v>
                </c:pt>
                <c:pt idx="309">
                  <c:v>41040</c:v>
                </c:pt>
                <c:pt idx="310">
                  <c:v>41043</c:v>
                </c:pt>
                <c:pt idx="311">
                  <c:v>41044</c:v>
                </c:pt>
                <c:pt idx="312">
                  <c:v>41045</c:v>
                </c:pt>
                <c:pt idx="313">
                  <c:v>41046</c:v>
                </c:pt>
                <c:pt idx="314">
                  <c:v>41047</c:v>
                </c:pt>
                <c:pt idx="315">
                  <c:v>41050</c:v>
                </c:pt>
                <c:pt idx="316">
                  <c:v>41051</c:v>
                </c:pt>
                <c:pt idx="317">
                  <c:v>41052</c:v>
                </c:pt>
                <c:pt idx="318">
                  <c:v>41053</c:v>
                </c:pt>
                <c:pt idx="319">
                  <c:v>41054</c:v>
                </c:pt>
                <c:pt idx="320">
                  <c:v>41057</c:v>
                </c:pt>
                <c:pt idx="321">
                  <c:v>41058</c:v>
                </c:pt>
                <c:pt idx="322">
                  <c:v>41059</c:v>
                </c:pt>
                <c:pt idx="323">
                  <c:v>41060</c:v>
                </c:pt>
                <c:pt idx="324">
                  <c:v>41061</c:v>
                </c:pt>
                <c:pt idx="325">
                  <c:v>41064</c:v>
                </c:pt>
                <c:pt idx="326">
                  <c:v>41065</c:v>
                </c:pt>
                <c:pt idx="327">
                  <c:v>41066</c:v>
                </c:pt>
                <c:pt idx="328">
                  <c:v>41067</c:v>
                </c:pt>
                <c:pt idx="329">
                  <c:v>41068</c:v>
                </c:pt>
                <c:pt idx="330">
                  <c:v>41071</c:v>
                </c:pt>
                <c:pt idx="331">
                  <c:v>41072</c:v>
                </c:pt>
                <c:pt idx="332">
                  <c:v>41073</c:v>
                </c:pt>
                <c:pt idx="333">
                  <c:v>41074</c:v>
                </c:pt>
                <c:pt idx="334">
                  <c:v>41075</c:v>
                </c:pt>
                <c:pt idx="335">
                  <c:v>41078</c:v>
                </c:pt>
                <c:pt idx="336">
                  <c:v>41079</c:v>
                </c:pt>
                <c:pt idx="337">
                  <c:v>41080</c:v>
                </c:pt>
                <c:pt idx="338">
                  <c:v>41081</c:v>
                </c:pt>
                <c:pt idx="339">
                  <c:v>41082</c:v>
                </c:pt>
                <c:pt idx="340">
                  <c:v>41085</c:v>
                </c:pt>
                <c:pt idx="341">
                  <c:v>41086</c:v>
                </c:pt>
                <c:pt idx="342">
                  <c:v>41087</c:v>
                </c:pt>
                <c:pt idx="343">
                  <c:v>41088</c:v>
                </c:pt>
                <c:pt idx="344">
                  <c:v>41089</c:v>
                </c:pt>
                <c:pt idx="345">
                  <c:v>41092</c:v>
                </c:pt>
                <c:pt idx="346">
                  <c:v>41093</c:v>
                </c:pt>
                <c:pt idx="347">
                  <c:v>41094</c:v>
                </c:pt>
                <c:pt idx="348">
                  <c:v>41095</c:v>
                </c:pt>
                <c:pt idx="349">
                  <c:v>41096</c:v>
                </c:pt>
                <c:pt idx="350">
                  <c:v>41099</c:v>
                </c:pt>
                <c:pt idx="351">
                  <c:v>41100</c:v>
                </c:pt>
                <c:pt idx="352">
                  <c:v>41101</c:v>
                </c:pt>
                <c:pt idx="353">
                  <c:v>41102</c:v>
                </c:pt>
                <c:pt idx="354">
                  <c:v>41103</c:v>
                </c:pt>
                <c:pt idx="355">
                  <c:v>41106</c:v>
                </c:pt>
                <c:pt idx="356">
                  <c:v>41107</c:v>
                </c:pt>
                <c:pt idx="357">
                  <c:v>41108</c:v>
                </c:pt>
                <c:pt idx="358">
                  <c:v>41109</c:v>
                </c:pt>
                <c:pt idx="359">
                  <c:v>41110</c:v>
                </c:pt>
                <c:pt idx="360">
                  <c:v>41113</c:v>
                </c:pt>
                <c:pt idx="361">
                  <c:v>41114</c:v>
                </c:pt>
                <c:pt idx="362">
                  <c:v>41115</c:v>
                </c:pt>
                <c:pt idx="363">
                  <c:v>41116</c:v>
                </c:pt>
                <c:pt idx="364">
                  <c:v>41117</c:v>
                </c:pt>
                <c:pt idx="365">
                  <c:v>41120</c:v>
                </c:pt>
                <c:pt idx="366">
                  <c:v>41121</c:v>
                </c:pt>
                <c:pt idx="367">
                  <c:v>41122</c:v>
                </c:pt>
                <c:pt idx="368">
                  <c:v>41123</c:v>
                </c:pt>
                <c:pt idx="369">
                  <c:v>41124</c:v>
                </c:pt>
                <c:pt idx="370">
                  <c:v>41127</c:v>
                </c:pt>
                <c:pt idx="371">
                  <c:v>41128</c:v>
                </c:pt>
                <c:pt idx="372">
                  <c:v>41129</c:v>
                </c:pt>
                <c:pt idx="373">
                  <c:v>41130</c:v>
                </c:pt>
                <c:pt idx="374">
                  <c:v>41131</c:v>
                </c:pt>
                <c:pt idx="375">
                  <c:v>41134</c:v>
                </c:pt>
                <c:pt idx="376">
                  <c:v>41135</c:v>
                </c:pt>
                <c:pt idx="377">
                  <c:v>41136</c:v>
                </c:pt>
                <c:pt idx="378">
                  <c:v>41137</c:v>
                </c:pt>
                <c:pt idx="379">
                  <c:v>41138</c:v>
                </c:pt>
                <c:pt idx="380">
                  <c:v>41141</c:v>
                </c:pt>
                <c:pt idx="381">
                  <c:v>41142</c:v>
                </c:pt>
                <c:pt idx="382">
                  <c:v>41143</c:v>
                </c:pt>
                <c:pt idx="383">
                  <c:v>41144</c:v>
                </c:pt>
                <c:pt idx="384">
                  <c:v>41145</c:v>
                </c:pt>
                <c:pt idx="385">
                  <c:v>41148</c:v>
                </c:pt>
                <c:pt idx="386">
                  <c:v>41149</c:v>
                </c:pt>
                <c:pt idx="387">
                  <c:v>41150</c:v>
                </c:pt>
                <c:pt idx="388">
                  <c:v>41151</c:v>
                </c:pt>
                <c:pt idx="389">
                  <c:v>41152</c:v>
                </c:pt>
                <c:pt idx="390">
                  <c:v>41155</c:v>
                </c:pt>
                <c:pt idx="391">
                  <c:v>41156</c:v>
                </c:pt>
                <c:pt idx="392">
                  <c:v>41157</c:v>
                </c:pt>
                <c:pt idx="393">
                  <c:v>41158</c:v>
                </c:pt>
                <c:pt idx="394">
                  <c:v>41159</c:v>
                </c:pt>
                <c:pt idx="395">
                  <c:v>41162</c:v>
                </c:pt>
                <c:pt idx="396">
                  <c:v>41163</c:v>
                </c:pt>
                <c:pt idx="397">
                  <c:v>41164</c:v>
                </c:pt>
                <c:pt idx="398">
                  <c:v>41165</c:v>
                </c:pt>
                <c:pt idx="399">
                  <c:v>41166</c:v>
                </c:pt>
                <c:pt idx="400">
                  <c:v>41169</c:v>
                </c:pt>
                <c:pt idx="401">
                  <c:v>41170</c:v>
                </c:pt>
                <c:pt idx="402">
                  <c:v>41171</c:v>
                </c:pt>
                <c:pt idx="403">
                  <c:v>41172</c:v>
                </c:pt>
                <c:pt idx="404">
                  <c:v>41173</c:v>
                </c:pt>
                <c:pt idx="405">
                  <c:v>41176</c:v>
                </c:pt>
                <c:pt idx="406">
                  <c:v>41177</c:v>
                </c:pt>
                <c:pt idx="407">
                  <c:v>41178</c:v>
                </c:pt>
                <c:pt idx="408">
                  <c:v>41179</c:v>
                </c:pt>
                <c:pt idx="409">
                  <c:v>41180</c:v>
                </c:pt>
                <c:pt idx="410">
                  <c:v>41183</c:v>
                </c:pt>
                <c:pt idx="411">
                  <c:v>41184</c:v>
                </c:pt>
                <c:pt idx="412">
                  <c:v>41185</c:v>
                </c:pt>
                <c:pt idx="413">
                  <c:v>41186</c:v>
                </c:pt>
                <c:pt idx="414">
                  <c:v>41187</c:v>
                </c:pt>
                <c:pt idx="415">
                  <c:v>41190</c:v>
                </c:pt>
                <c:pt idx="416">
                  <c:v>41191</c:v>
                </c:pt>
                <c:pt idx="417">
                  <c:v>41192</c:v>
                </c:pt>
                <c:pt idx="418">
                  <c:v>41193</c:v>
                </c:pt>
                <c:pt idx="419">
                  <c:v>41194</c:v>
                </c:pt>
                <c:pt idx="420">
                  <c:v>41197</c:v>
                </c:pt>
                <c:pt idx="421">
                  <c:v>41198</c:v>
                </c:pt>
                <c:pt idx="422">
                  <c:v>41199</c:v>
                </c:pt>
                <c:pt idx="423">
                  <c:v>41200</c:v>
                </c:pt>
                <c:pt idx="424">
                  <c:v>41201</c:v>
                </c:pt>
                <c:pt idx="425">
                  <c:v>41204</c:v>
                </c:pt>
                <c:pt idx="426">
                  <c:v>41205</c:v>
                </c:pt>
                <c:pt idx="427">
                  <c:v>41206</c:v>
                </c:pt>
                <c:pt idx="428">
                  <c:v>41207</c:v>
                </c:pt>
                <c:pt idx="429">
                  <c:v>41208</c:v>
                </c:pt>
                <c:pt idx="430">
                  <c:v>41211</c:v>
                </c:pt>
                <c:pt idx="431">
                  <c:v>41212</c:v>
                </c:pt>
                <c:pt idx="432">
                  <c:v>41213</c:v>
                </c:pt>
                <c:pt idx="433">
                  <c:v>41214</c:v>
                </c:pt>
                <c:pt idx="434">
                  <c:v>41215</c:v>
                </c:pt>
                <c:pt idx="435">
                  <c:v>41218</c:v>
                </c:pt>
                <c:pt idx="436">
                  <c:v>41219</c:v>
                </c:pt>
                <c:pt idx="437">
                  <c:v>41220</c:v>
                </c:pt>
                <c:pt idx="438">
                  <c:v>41221</c:v>
                </c:pt>
                <c:pt idx="439">
                  <c:v>41222</c:v>
                </c:pt>
                <c:pt idx="440">
                  <c:v>41225</c:v>
                </c:pt>
                <c:pt idx="441">
                  <c:v>41226</c:v>
                </c:pt>
                <c:pt idx="442">
                  <c:v>41227</c:v>
                </c:pt>
                <c:pt idx="443">
                  <c:v>41228</c:v>
                </c:pt>
                <c:pt idx="444">
                  <c:v>41229</c:v>
                </c:pt>
                <c:pt idx="445">
                  <c:v>41232</c:v>
                </c:pt>
                <c:pt idx="446">
                  <c:v>41233</c:v>
                </c:pt>
                <c:pt idx="447">
                  <c:v>41234</c:v>
                </c:pt>
                <c:pt idx="448">
                  <c:v>41235</c:v>
                </c:pt>
                <c:pt idx="449">
                  <c:v>41236</c:v>
                </c:pt>
                <c:pt idx="450">
                  <c:v>41239</c:v>
                </c:pt>
                <c:pt idx="451">
                  <c:v>41240</c:v>
                </c:pt>
                <c:pt idx="452">
                  <c:v>41241</c:v>
                </c:pt>
                <c:pt idx="453">
                  <c:v>41242</c:v>
                </c:pt>
                <c:pt idx="454">
                  <c:v>41243</c:v>
                </c:pt>
                <c:pt idx="455">
                  <c:v>41246</c:v>
                </c:pt>
                <c:pt idx="456">
                  <c:v>41247</c:v>
                </c:pt>
                <c:pt idx="457">
                  <c:v>41248</c:v>
                </c:pt>
                <c:pt idx="458">
                  <c:v>41249</c:v>
                </c:pt>
                <c:pt idx="459">
                  <c:v>41250</c:v>
                </c:pt>
                <c:pt idx="460">
                  <c:v>41253</c:v>
                </c:pt>
                <c:pt idx="461">
                  <c:v>41254</c:v>
                </c:pt>
                <c:pt idx="462">
                  <c:v>41255</c:v>
                </c:pt>
                <c:pt idx="463">
                  <c:v>41256</c:v>
                </c:pt>
                <c:pt idx="464">
                  <c:v>41257</c:v>
                </c:pt>
                <c:pt idx="465">
                  <c:v>41260</c:v>
                </c:pt>
                <c:pt idx="466">
                  <c:v>41261</c:v>
                </c:pt>
                <c:pt idx="467">
                  <c:v>41262</c:v>
                </c:pt>
                <c:pt idx="468">
                  <c:v>41263</c:v>
                </c:pt>
                <c:pt idx="469">
                  <c:v>41264</c:v>
                </c:pt>
                <c:pt idx="470">
                  <c:v>41267</c:v>
                </c:pt>
                <c:pt idx="471">
                  <c:v>41270</c:v>
                </c:pt>
                <c:pt idx="472">
                  <c:v>41271</c:v>
                </c:pt>
                <c:pt idx="473">
                  <c:v>41274</c:v>
                </c:pt>
                <c:pt idx="474">
                  <c:v>41276</c:v>
                </c:pt>
                <c:pt idx="475">
                  <c:v>41277</c:v>
                </c:pt>
                <c:pt idx="476">
                  <c:v>41278</c:v>
                </c:pt>
                <c:pt idx="477">
                  <c:v>41281</c:v>
                </c:pt>
                <c:pt idx="478">
                  <c:v>41282</c:v>
                </c:pt>
                <c:pt idx="479">
                  <c:v>41283</c:v>
                </c:pt>
                <c:pt idx="480">
                  <c:v>41284</c:v>
                </c:pt>
                <c:pt idx="481">
                  <c:v>41285</c:v>
                </c:pt>
                <c:pt idx="482">
                  <c:v>41288</c:v>
                </c:pt>
                <c:pt idx="483">
                  <c:v>41289</c:v>
                </c:pt>
                <c:pt idx="484">
                  <c:v>41290</c:v>
                </c:pt>
                <c:pt idx="485">
                  <c:v>41291</c:v>
                </c:pt>
                <c:pt idx="486">
                  <c:v>41292</c:v>
                </c:pt>
                <c:pt idx="487">
                  <c:v>41295</c:v>
                </c:pt>
                <c:pt idx="488">
                  <c:v>41296</c:v>
                </c:pt>
                <c:pt idx="489">
                  <c:v>41297</c:v>
                </c:pt>
                <c:pt idx="490">
                  <c:v>41298</c:v>
                </c:pt>
                <c:pt idx="491">
                  <c:v>41299</c:v>
                </c:pt>
                <c:pt idx="492">
                  <c:v>41302</c:v>
                </c:pt>
                <c:pt idx="493">
                  <c:v>41303</c:v>
                </c:pt>
                <c:pt idx="494">
                  <c:v>41304</c:v>
                </c:pt>
                <c:pt idx="495">
                  <c:v>41305</c:v>
                </c:pt>
                <c:pt idx="496">
                  <c:v>41306</c:v>
                </c:pt>
                <c:pt idx="497">
                  <c:v>41309</c:v>
                </c:pt>
                <c:pt idx="498">
                  <c:v>41310</c:v>
                </c:pt>
                <c:pt idx="499">
                  <c:v>41311</c:v>
                </c:pt>
                <c:pt idx="500">
                  <c:v>41312</c:v>
                </c:pt>
                <c:pt idx="501">
                  <c:v>41313</c:v>
                </c:pt>
                <c:pt idx="502">
                  <c:v>41316</c:v>
                </c:pt>
                <c:pt idx="503">
                  <c:v>41317</c:v>
                </c:pt>
                <c:pt idx="504">
                  <c:v>41318</c:v>
                </c:pt>
                <c:pt idx="505">
                  <c:v>41319</c:v>
                </c:pt>
                <c:pt idx="506">
                  <c:v>41320</c:v>
                </c:pt>
                <c:pt idx="507">
                  <c:v>41323</c:v>
                </c:pt>
                <c:pt idx="508">
                  <c:v>41324</c:v>
                </c:pt>
                <c:pt idx="509">
                  <c:v>41325</c:v>
                </c:pt>
                <c:pt idx="510">
                  <c:v>41326</c:v>
                </c:pt>
                <c:pt idx="511">
                  <c:v>41327</c:v>
                </c:pt>
                <c:pt idx="512">
                  <c:v>41330</c:v>
                </c:pt>
                <c:pt idx="513">
                  <c:v>41331</c:v>
                </c:pt>
                <c:pt idx="514">
                  <c:v>41332</c:v>
                </c:pt>
                <c:pt idx="515">
                  <c:v>41333</c:v>
                </c:pt>
                <c:pt idx="516">
                  <c:v>41334</c:v>
                </c:pt>
                <c:pt idx="517">
                  <c:v>41337</c:v>
                </c:pt>
                <c:pt idx="518">
                  <c:v>41338</c:v>
                </c:pt>
                <c:pt idx="519">
                  <c:v>41339</c:v>
                </c:pt>
                <c:pt idx="520">
                  <c:v>41340</c:v>
                </c:pt>
                <c:pt idx="521">
                  <c:v>41341</c:v>
                </c:pt>
                <c:pt idx="522">
                  <c:v>41344</c:v>
                </c:pt>
                <c:pt idx="523">
                  <c:v>41345</c:v>
                </c:pt>
                <c:pt idx="524">
                  <c:v>41346</c:v>
                </c:pt>
                <c:pt idx="525">
                  <c:v>41347</c:v>
                </c:pt>
                <c:pt idx="526">
                  <c:v>41348</c:v>
                </c:pt>
                <c:pt idx="527">
                  <c:v>41351</c:v>
                </c:pt>
                <c:pt idx="528">
                  <c:v>41352</c:v>
                </c:pt>
                <c:pt idx="529">
                  <c:v>41353</c:v>
                </c:pt>
                <c:pt idx="530">
                  <c:v>41354</c:v>
                </c:pt>
                <c:pt idx="531">
                  <c:v>41355</c:v>
                </c:pt>
                <c:pt idx="532">
                  <c:v>41358</c:v>
                </c:pt>
                <c:pt idx="533">
                  <c:v>41359</c:v>
                </c:pt>
                <c:pt idx="534">
                  <c:v>41360</c:v>
                </c:pt>
                <c:pt idx="535">
                  <c:v>41361</c:v>
                </c:pt>
                <c:pt idx="536">
                  <c:v>41366</c:v>
                </c:pt>
                <c:pt idx="537">
                  <c:v>41367</c:v>
                </c:pt>
                <c:pt idx="538">
                  <c:v>41368</c:v>
                </c:pt>
                <c:pt idx="539">
                  <c:v>41369</c:v>
                </c:pt>
                <c:pt idx="540">
                  <c:v>41372</c:v>
                </c:pt>
                <c:pt idx="541">
                  <c:v>41373</c:v>
                </c:pt>
                <c:pt idx="542">
                  <c:v>41374</c:v>
                </c:pt>
                <c:pt idx="543">
                  <c:v>41375</c:v>
                </c:pt>
                <c:pt idx="544">
                  <c:v>41376</c:v>
                </c:pt>
                <c:pt idx="545">
                  <c:v>41379</c:v>
                </c:pt>
                <c:pt idx="546">
                  <c:v>41380</c:v>
                </c:pt>
                <c:pt idx="547">
                  <c:v>41381</c:v>
                </c:pt>
                <c:pt idx="548">
                  <c:v>41382</c:v>
                </c:pt>
                <c:pt idx="549">
                  <c:v>41383</c:v>
                </c:pt>
                <c:pt idx="550">
                  <c:v>41386</c:v>
                </c:pt>
                <c:pt idx="551">
                  <c:v>41387</c:v>
                </c:pt>
                <c:pt idx="552">
                  <c:v>41388</c:v>
                </c:pt>
                <c:pt idx="553">
                  <c:v>41389</c:v>
                </c:pt>
                <c:pt idx="554">
                  <c:v>41390</c:v>
                </c:pt>
                <c:pt idx="555">
                  <c:v>41393</c:v>
                </c:pt>
                <c:pt idx="556">
                  <c:v>41394</c:v>
                </c:pt>
                <c:pt idx="557">
                  <c:v>41395</c:v>
                </c:pt>
                <c:pt idx="558">
                  <c:v>41396</c:v>
                </c:pt>
                <c:pt idx="559">
                  <c:v>41397</c:v>
                </c:pt>
                <c:pt idx="560">
                  <c:v>41400</c:v>
                </c:pt>
                <c:pt idx="561">
                  <c:v>41401</c:v>
                </c:pt>
                <c:pt idx="562">
                  <c:v>41402</c:v>
                </c:pt>
                <c:pt idx="563">
                  <c:v>41403</c:v>
                </c:pt>
                <c:pt idx="564">
                  <c:v>41404</c:v>
                </c:pt>
                <c:pt idx="565">
                  <c:v>41407</c:v>
                </c:pt>
                <c:pt idx="566">
                  <c:v>41408</c:v>
                </c:pt>
                <c:pt idx="567">
                  <c:v>41409</c:v>
                </c:pt>
                <c:pt idx="568">
                  <c:v>41410</c:v>
                </c:pt>
                <c:pt idx="569">
                  <c:v>41411</c:v>
                </c:pt>
                <c:pt idx="570">
                  <c:v>41414</c:v>
                </c:pt>
                <c:pt idx="571">
                  <c:v>41415</c:v>
                </c:pt>
                <c:pt idx="572">
                  <c:v>41416</c:v>
                </c:pt>
                <c:pt idx="573">
                  <c:v>41417</c:v>
                </c:pt>
                <c:pt idx="574">
                  <c:v>41418</c:v>
                </c:pt>
                <c:pt idx="575">
                  <c:v>41421</c:v>
                </c:pt>
                <c:pt idx="576">
                  <c:v>41422</c:v>
                </c:pt>
                <c:pt idx="577">
                  <c:v>41423</c:v>
                </c:pt>
                <c:pt idx="578">
                  <c:v>41424</c:v>
                </c:pt>
                <c:pt idx="579">
                  <c:v>41425</c:v>
                </c:pt>
                <c:pt idx="580">
                  <c:v>41428</c:v>
                </c:pt>
                <c:pt idx="581">
                  <c:v>41429</c:v>
                </c:pt>
                <c:pt idx="582">
                  <c:v>41430</c:v>
                </c:pt>
                <c:pt idx="583">
                  <c:v>41431</c:v>
                </c:pt>
                <c:pt idx="584">
                  <c:v>41432</c:v>
                </c:pt>
                <c:pt idx="585">
                  <c:v>41435</c:v>
                </c:pt>
                <c:pt idx="586">
                  <c:v>41436</c:v>
                </c:pt>
                <c:pt idx="587">
                  <c:v>41437</c:v>
                </c:pt>
                <c:pt idx="588">
                  <c:v>41438</c:v>
                </c:pt>
                <c:pt idx="589">
                  <c:v>41439</c:v>
                </c:pt>
                <c:pt idx="590">
                  <c:v>41442</c:v>
                </c:pt>
                <c:pt idx="591">
                  <c:v>41443</c:v>
                </c:pt>
                <c:pt idx="592">
                  <c:v>41444</c:v>
                </c:pt>
                <c:pt idx="593">
                  <c:v>41445</c:v>
                </c:pt>
                <c:pt idx="594">
                  <c:v>41446</c:v>
                </c:pt>
                <c:pt idx="595">
                  <c:v>41449</c:v>
                </c:pt>
                <c:pt idx="596">
                  <c:v>41450</c:v>
                </c:pt>
                <c:pt idx="597">
                  <c:v>41451</c:v>
                </c:pt>
                <c:pt idx="598">
                  <c:v>41452</c:v>
                </c:pt>
                <c:pt idx="599">
                  <c:v>41453</c:v>
                </c:pt>
                <c:pt idx="600">
                  <c:v>41456</c:v>
                </c:pt>
                <c:pt idx="601">
                  <c:v>41457</c:v>
                </c:pt>
                <c:pt idx="602">
                  <c:v>41458</c:v>
                </c:pt>
                <c:pt idx="603">
                  <c:v>41459</c:v>
                </c:pt>
                <c:pt idx="604">
                  <c:v>41460</c:v>
                </c:pt>
                <c:pt idx="605">
                  <c:v>41463</c:v>
                </c:pt>
                <c:pt idx="606">
                  <c:v>41464</c:v>
                </c:pt>
                <c:pt idx="607">
                  <c:v>41465</c:v>
                </c:pt>
                <c:pt idx="608">
                  <c:v>41466</c:v>
                </c:pt>
                <c:pt idx="609">
                  <c:v>41467</c:v>
                </c:pt>
                <c:pt idx="610">
                  <c:v>41470</c:v>
                </c:pt>
                <c:pt idx="611">
                  <c:v>41471</c:v>
                </c:pt>
                <c:pt idx="612">
                  <c:v>41472</c:v>
                </c:pt>
                <c:pt idx="613">
                  <c:v>41473</c:v>
                </c:pt>
                <c:pt idx="614">
                  <c:v>41474</c:v>
                </c:pt>
                <c:pt idx="615">
                  <c:v>41477</c:v>
                </c:pt>
                <c:pt idx="616">
                  <c:v>41478</c:v>
                </c:pt>
                <c:pt idx="617">
                  <c:v>41479</c:v>
                </c:pt>
                <c:pt idx="618">
                  <c:v>41480</c:v>
                </c:pt>
                <c:pt idx="619">
                  <c:v>41481</c:v>
                </c:pt>
                <c:pt idx="620">
                  <c:v>41484</c:v>
                </c:pt>
                <c:pt idx="621">
                  <c:v>41485</c:v>
                </c:pt>
                <c:pt idx="622">
                  <c:v>41486</c:v>
                </c:pt>
                <c:pt idx="623">
                  <c:v>41487</c:v>
                </c:pt>
                <c:pt idx="624">
                  <c:v>41488</c:v>
                </c:pt>
                <c:pt idx="625">
                  <c:v>41491</c:v>
                </c:pt>
                <c:pt idx="626">
                  <c:v>41492</c:v>
                </c:pt>
                <c:pt idx="627">
                  <c:v>41493</c:v>
                </c:pt>
                <c:pt idx="628">
                  <c:v>41494</c:v>
                </c:pt>
                <c:pt idx="629">
                  <c:v>41495</c:v>
                </c:pt>
                <c:pt idx="630">
                  <c:v>41498</c:v>
                </c:pt>
                <c:pt idx="631">
                  <c:v>41499</c:v>
                </c:pt>
                <c:pt idx="632">
                  <c:v>41500</c:v>
                </c:pt>
                <c:pt idx="633">
                  <c:v>41501</c:v>
                </c:pt>
                <c:pt idx="634">
                  <c:v>41502</c:v>
                </c:pt>
                <c:pt idx="635">
                  <c:v>41505</c:v>
                </c:pt>
                <c:pt idx="636">
                  <c:v>41506</c:v>
                </c:pt>
                <c:pt idx="637">
                  <c:v>41507</c:v>
                </c:pt>
                <c:pt idx="638">
                  <c:v>41508</c:v>
                </c:pt>
                <c:pt idx="639">
                  <c:v>41509</c:v>
                </c:pt>
                <c:pt idx="640">
                  <c:v>41512</c:v>
                </c:pt>
                <c:pt idx="641">
                  <c:v>41513</c:v>
                </c:pt>
                <c:pt idx="642">
                  <c:v>41514</c:v>
                </c:pt>
                <c:pt idx="643">
                  <c:v>41515</c:v>
                </c:pt>
                <c:pt idx="644">
                  <c:v>41516</c:v>
                </c:pt>
                <c:pt idx="645">
                  <c:v>41519</c:v>
                </c:pt>
                <c:pt idx="646">
                  <c:v>41520</c:v>
                </c:pt>
                <c:pt idx="647">
                  <c:v>41521</c:v>
                </c:pt>
                <c:pt idx="648">
                  <c:v>41522</c:v>
                </c:pt>
                <c:pt idx="649">
                  <c:v>41523</c:v>
                </c:pt>
                <c:pt idx="650">
                  <c:v>41526</c:v>
                </c:pt>
                <c:pt idx="651">
                  <c:v>41527</c:v>
                </c:pt>
                <c:pt idx="652">
                  <c:v>41528</c:v>
                </c:pt>
                <c:pt idx="653">
                  <c:v>41529</c:v>
                </c:pt>
                <c:pt idx="654">
                  <c:v>41530</c:v>
                </c:pt>
                <c:pt idx="655">
                  <c:v>41533</c:v>
                </c:pt>
                <c:pt idx="656">
                  <c:v>41534</c:v>
                </c:pt>
                <c:pt idx="657">
                  <c:v>41535</c:v>
                </c:pt>
                <c:pt idx="658">
                  <c:v>41536</c:v>
                </c:pt>
                <c:pt idx="659">
                  <c:v>41537</c:v>
                </c:pt>
                <c:pt idx="660">
                  <c:v>41540</c:v>
                </c:pt>
                <c:pt idx="661">
                  <c:v>41541</c:v>
                </c:pt>
                <c:pt idx="662">
                  <c:v>41542</c:v>
                </c:pt>
                <c:pt idx="663">
                  <c:v>41543</c:v>
                </c:pt>
                <c:pt idx="664">
                  <c:v>41544</c:v>
                </c:pt>
                <c:pt idx="665">
                  <c:v>41547</c:v>
                </c:pt>
                <c:pt idx="666">
                  <c:v>41548</c:v>
                </c:pt>
                <c:pt idx="667">
                  <c:v>41549</c:v>
                </c:pt>
                <c:pt idx="668">
                  <c:v>41550</c:v>
                </c:pt>
                <c:pt idx="669">
                  <c:v>41551</c:v>
                </c:pt>
                <c:pt idx="670">
                  <c:v>41554</c:v>
                </c:pt>
                <c:pt idx="671">
                  <c:v>41555</c:v>
                </c:pt>
                <c:pt idx="672">
                  <c:v>41556</c:v>
                </c:pt>
                <c:pt idx="673">
                  <c:v>41557</c:v>
                </c:pt>
                <c:pt idx="674">
                  <c:v>41558</c:v>
                </c:pt>
                <c:pt idx="675">
                  <c:v>41561</c:v>
                </c:pt>
                <c:pt idx="676">
                  <c:v>41562</c:v>
                </c:pt>
                <c:pt idx="677">
                  <c:v>41563</c:v>
                </c:pt>
                <c:pt idx="678">
                  <c:v>41564</c:v>
                </c:pt>
                <c:pt idx="679">
                  <c:v>41565</c:v>
                </c:pt>
                <c:pt idx="680">
                  <c:v>41568</c:v>
                </c:pt>
                <c:pt idx="681">
                  <c:v>41569</c:v>
                </c:pt>
                <c:pt idx="682">
                  <c:v>41570</c:v>
                </c:pt>
                <c:pt idx="683">
                  <c:v>41571</c:v>
                </c:pt>
                <c:pt idx="684">
                  <c:v>41572</c:v>
                </c:pt>
                <c:pt idx="685">
                  <c:v>41575</c:v>
                </c:pt>
                <c:pt idx="686">
                  <c:v>41576</c:v>
                </c:pt>
                <c:pt idx="687">
                  <c:v>41577</c:v>
                </c:pt>
                <c:pt idx="688">
                  <c:v>41578</c:v>
                </c:pt>
                <c:pt idx="689">
                  <c:v>41579</c:v>
                </c:pt>
                <c:pt idx="690">
                  <c:v>41582</c:v>
                </c:pt>
                <c:pt idx="691">
                  <c:v>41583</c:v>
                </c:pt>
                <c:pt idx="692">
                  <c:v>41584</c:v>
                </c:pt>
                <c:pt idx="693">
                  <c:v>41585</c:v>
                </c:pt>
                <c:pt idx="694">
                  <c:v>41586</c:v>
                </c:pt>
                <c:pt idx="695">
                  <c:v>41589</c:v>
                </c:pt>
                <c:pt idx="696">
                  <c:v>41590</c:v>
                </c:pt>
                <c:pt idx="697">
                  <c:v>41591</c:v>
                </c:pt>
                <c:pt idx="698">
                  <c:v>41592</c:v>
                </c:pt>
                <c:pt idx="699">
                  <c:v>41593</c:v>
                </c:pt>
                <c:pt idx="700">
                  <c:v>41596</c:v>
                </c:pt>
                <c:pt idx="701">
                  <c:v>41597</c:v>
                </c:pt>
                <c:pt idx="702">
                  <c:v>41598</c:v>
                </c:pt>
                <c:pt idx="703">
                  <c:v>41599</c:v>
                </c:pt>
                <c:pt idx="704">
                  <c:v>41600</c:v>
                </c:pt>
                <c:pt idx="705">
                  <c:v>41603</c:v>
                </c:pt>
                <c:pt idx="706">
                  <c:v>41604</c:v>
                </c:pt>
                <c:pt idx="707">
                  <c:v>41605</c:v>
                </c:pt>
                <c:pt idx="708">
                  <c:v>41606</c:v>
                </c:pt>
                <c:pt idx="709">
                  <c:v>41607</c:v>
                </c:pt>
                <c:pt idx="710">
                  <c:v>41610</c:v>
                </c:pt>
                <c:pt idx="711">
                  <c:v>41611</c:v>
                </c:pt>
                <c:pt idx="712">
                  <c:v>41612</c:v>
                </c:pt>
                <c:pt idx="713">
                  <c:v>41613</c:v>
                </c:pt>
                <c:pt idx="714">
                  <c:v>41614</c:v>
                </c:pt>
                <c:pt idx="715">
                  <c:v>41617</c:v>
                </c:pt>
                <c:pt idx="716">
                  <c:v>41618</c:v>
                </c:pt>
                <c:pt idx="717">
                  <c:v>41619</c:v>
                </c:pt>
                <c:pt idx="718">
                  <c:v>41620</c:v>
                </c:pt>
                <c:pt idx="719">
                  <c:v>41621</c:v>
                </c:pt>
                <c:pt idx="720">
                  <c:v>41624</c:v>
                </c:pt>
                <c:pt idx="721">
                  <c:v>41625</c:v>
                </c:pt>
                <c:pt idx="722">
                  <c:v>41626</c:v>
                </c:pt>
                <c:pt idx="723">
                  <c:v>41627</c:v>
                </c:pt>
                <c:pt idx="724">
                  <c:v>41628</c:v>
                </c:pt>
                <c:pt idx="725">
                  <c:v>41631</c:v>
                </c:pt>
                <c:pt idx="726">
                  <c:v>41632</c:v>
                </c:pt>
                <c:pt idx="727">
                  <c:v>41635</c:v>
                </c:pt>
                <c:pt idx="728">
                  <c:v>41638</c:v>
                </c:pt>
                <c:pt idx="729">
                  <c:v>41639</c:v>
                </c:pt>
                <c:pt idx="730">
                  <c:v>41641</c:v>
                </c:pt>
                <c:pt idx="731">
                  <c:v>41642</c:v>
                </c:pt>
                <c:pt idx="732">
                  <c:v>41645</c:v>
                </c:pt>
                <c:pt idx="733">
                  <c:v>41646</c:v>
                </c:pt>
                <c:pt idx="734">
                  <c:v>41647</c:v>
                </c:pt>
                <c:pt idx="735">
                  <c:v>41648</c:v>
                </c:pt>
                <c:pt idx="736">
                  <c:v>41649</c:v>
                </c:pt>
                <c:pt idx="737">
                  <c:v>41652</c:v>
                </c:pt>
                <c:pt idx="738">
                  <c:v>41653</c:v>
                </c:pt>
                <c:pt idx="739">
                  <c:v>41654</c:v>
                </c:pt>
                <c:pt idx="740">
                  <c:v>41655</c:v>
                </c:pt>
                <c:pt idx="741">
                  <c:v>41656</c:v>
                </c:pt>
                <c:pt idx="742">
                  <c:v>41659</c:v>
                </c:pt>
                <c:pt idx="743">
                  <c:v>41660</c:v>
                </c:pt>
                <c:pt idx="744">
                  <c:v>41661</c:v>
                </c:pt>
                <c:pt idx="745">
                  <c:v>41662</c:v>
                </c:pt>
                <c:pt idx="746">
                  <c:v>41663</c:v>
                </c:pt>
                <c:pt idx="747">
                  <c:v>41666</c:v>
                </c:pt>
                <c:pt idx="748">
                  <c:v>41667</c:v>
                </c:pt>
                <c:pt idx="749">
                  <c:v>41668</c:v>
                </c:pt>
                <c:pt idx="750">
                  <c:v>41669</c:v>
                </c:pt>
                <c:pt idx="751">
                  <c:v>41670</c:v>
                </c:pt>
                <c:pt idx="752">
                  <c:v>41673</c:v>
                </c:pt>
                <c:pt idx="753">
                  <c:v>41674</c:v>
                </c:pt>
                <c:pt idx="754">
                  <c:v>41675</c:v>
                </c:pt>
                <c:pt idx="755">
                  <c:v>41676</c:v>
                </c:pt>
                <c:pt idx="756">
                  <c:v>41677</c:v>
                </c:pt>
                <c:pt idx="757">
                  <c:v>41680</c:v>
                </c:pt>
                <c:pt idx="758">
                  <c:v>41681</c:v>
                </c:pt>
                <c:pt idx="759">
                  <c:v>41682</c:v>
                </c:pt>
                <c:pt idx="760">
                  <c:v>41683</c:v>
                </c:pt>
                <c:pt idx="761">
                  <c:v>41684</c:v>
                </c:pt>
                <c:pt idx="762">
                  <c:v>41687</c:v>
                </c:pt>
                <c:pt idx="763">
                  <c:v>41688</c:v>
                </c:pt>
                <c:pt idx="764">
                  <c:v>41689</c:v>
                </c:pt>
                <c:pt idx="765">
                  <c:v>41690</c:v>
                </c:pt>
                <c:pt idx="766">
                  <c:v>41691</c:v>
                </c:pt>
                <c:pt idx="767">
                  <c:v>41694</c:v>
                </c:pt>
                <c:pt idx="768">
                  <c:v>41695</c:v>
                </c:pt>
                <c:pt idx="769">
                  <c:v>41696</c:v>
                </c:pt>
                <c:pt idx="770">
                  <c:v>41697</c:v>
                </c:pt>
                <c:pt idx="771">
                  <c:v>41698</c:v>
                </c:pt>
                <c:pt idx="772">
                  <c:v>41701</c:v>
                </c:pt>
                <c:pt idx="773">
                  <c:v>41702</c:v>
                </c:pt>
                <c:pt idx="774">
                  <c:v>41703</c:v>
                </c:pt>
                <c:pt idx="775">
                  <c:v>41704</c:v>
                </c:pt>
                <c:pt idx="776">
                  <c:v>41705</c:v>
                </c:pt>
                <c:pt idx="777">
                  <c:v>41708</c:v>
                </c:pt>
                <c:pt idx="778">
                  <c:v>41709</c:v>
                </c:pt>
                <c:pt idx="779">
                  <c:v>41710</c:v>
                </c:pt>
                <c:pt idx="780">
                  <c:v>41711</c:v>
                </c:pt>
                <c:pt idx="781">
                  <c:v>41712</c:v>
                </c:pt>
                <c:pt idx="782">
                  <c:v>41715</c:v>
                </c:pt>
                <c:pt idx="783">
                  <c:v>41716</c:v>
                </c:pt>
                <c:pt idx="784">
                  <c:v>41717</c:v>
                </c:pt>
                <c:pt idx="785">
                  <c:v>41718</c:v>
                </c:pt>
                <c:pt idx="786">
                  <c:v>41719</c:v>
                </c:pt>
                <c:pt idx="787">
                  <c:v>41722</c:v>
                </c:pt>
                <c:pt idx="788">
                  <c:v>41723</c:v>
                </c:pt>
                <c:pt idx="789">
                  <c:v>41724</c:v>
                </c:pt>
                <c:pt idx="790">
                  <c:v>41725</c:v>
                </c:pt>
                <c:pt idx="791">
                  <c:v>41726</c:v>
                </c:pt>
                <c:pt idx="792">
                  <c:v>41729</c:v>
                </c:pt>
                <c:pt idx="793">
                  <c:v>41730</c:v>
                </c:pt>
                <c:pt idx="794">
                  <c:v>41731</c:v>
                </c:pt>
                <c:pt idx="795">
                  <c:v>41732</c:v>
                </c:pt>
                <c:pt idx="796">
                  <c:v>41733</c:v>
                </c:pt>
                <c:pt idx="797">
                  <c:v>41736</c:v>
                </c:pt>
                <c:pt idx="798">
                  <c:v>41737</c:v>
                </c:pt>
                <c:pt idx="799">
                  <c:v>41738</c:v>
                </c:pt>
                <c:pt idx="800">
                  <c:v>41739</c:v>
                </c:pt>
                <c:pt idx="801">
                  <c:v>41740</c:v>
                </c:pt>
                <c:pt idx="802">
                  <c:v>41743</c:v>
                </c:pt>
                <c:pt idx="803">
                  <c:v>41744</c:v>
                </c:pt>
                <c:pt idx="804">
                  <c:v>41745</c:v>
                </c:pt>
                <c:pt idx="805">
                  <c:v>41746</c:v>
                </c:pt>
                <c:pt idx="806">
                  <c:v>41751</c:v>
                </c:pt>
                <c:pt idx="807">
                  <c:v>41752</c:v>
                </c:pt>
                <c:pt idx="808">
                  <c:v>41753</c:v>
                </c:pt>
                <c:pt idx="809">
                  <c:v>41754</c:v>
                </c:pt>
                <c:pt idx="810">
                  <c:v>41757</c:v>
                </c:pt>
                <c:pt idx="811">
                  <c:v>41758</c:v>
                </c:pt>
                <c:pt idx="812">
                  <c:v>41759</c:v>
                </c:pt>
                <c:pt idx="813">
                  <c:v>41760</c:v>
                </c:pt>
                <c:pt idx="814">
                  <c:v>41761</c:v>
                </c:pt>
                <c:pt idx="815">
                  <c:v>41764</c:v>
                </c:pt>
                <c:pt idx="816">
                  <c:v>41765</c:v>
                </c:pt>
                <c:pt idx="817">
                  <c:v>41766</c:v>
                </c:pt>
                <c:pt idx="818">
                  <c:v>41767</c:v>
                </c:pt>
                <c:pt idx="819">
                  <c:v>41768</c:v>
                </c:pt>
                <c:pt idx="820">
                  <c:v>41771</c:v>
                </c:pt>
                <c:pt idx="821">
                  <c:v>41772</c:v>
                </c:pt>
                <c:pt idx="822">
                  <c:v>41773</c:v>
                </c:pt>
                <c:pt idx="823">
                  <c:v>41774</c:v>
                </c:pt>
                <c:pt idx="824">
                  <c:v>41775</c:v>
                </c:pt>
                <c:pt idx="825">
                  <c:v>41778</c:v>
                </c:pt>
                <c:pt idx="826">
                  <c:v>41779</c:v>
                </c:pt>
                <c:pt idx="827">
                  <c:v>41780</c:v>
                </c:pt>
                <c:pt idx="828">
                  <c:v>41781</c:v>
                </c:pt>
                <c:pt idx="829">
                  <c:v>41782</c:v>
                </c:pt>
                <c:pt idx="830">
                  <c:v>41785</c:v>
                </c:pt>
                <c:pt idx="831">
                  <c:v>41786</c:v>
                </c:pt>
                <c:pt idx="832">
                  <c:v>41787</c:v>
                </c:pt>
                <c:pt idx="833">
                  <c:v>41788</c:v>
                </c:pt>
                <c:pt idx="834">
                  <c:v>41789</c:v>
                </c:pt>
                <c:pt idx="835">
                  <c:v>41792</c:v>
                </c:pt>
                <c:pt idx="836">
                  <c:v>41793</c:v>
                </c:pt>
                <c:pt idx="837">
                  <c:v>41794</c:v>
                </c:pt>
                <c:pt idx="838">
                  <c:v>41795</c:v>
                </c:pt>
                <c:pt idx="839">
                  <c:v>41796</c:v>
                </c:pt>
                <c:pt idx="840">
                  <c:v>41799</c:v>
                </c:pt>
                <c:pt idx="841">
                  <c:v>41800</c:v>
                </c:pt>
                <c:pt idx="842">
                  <c:v>41801</c:v>
                </c:pt>
                <c:pt idx="843">
                  <c:v>41802</c:v>
                </c:pt>
                <c:pt idx="844">
                  <c:v>41803</c:v>
                </c:pt>
                <c:pt idx="845">
                  <c:v>41806</c:v>
                </c:pt>
                <c:pt idx="846">
                  <c:v>41807</c:v>
                </c:pt>
                <c:pt idx="847">
                  <c:v>41808</c:v>
                </c:pt>
                <c:pt idx="848">
                  <c:v>41809</c:v>
                </c:pt>
                <c:pt idx="849">
                  <c:v>41810</c:v>
                </c:pt>
                <c:pt idx="850">
                  <c:v>41813</c:v>
                </c:pt>
                <c:pt idx="851">
                  <c:v>41814</c:v>
                </c:pt>
                <c:pt idx="852">
                  <c:v>41815</c:v>
                </c:pt>
                <c:pt idx="853">
                  <c:v>41816</c:v>
                </c:pt>
                <c:pt idx="854">
                  <c:v>41817</c:v>
                </c:pt>
                <c:pt idx="855">
                  <c:v>41820</c:v>
                </c:pt>
                <c:pt idx="856">
                  <c:v>41821</c:v>
                </c:pt>
                <c:pt idx="857">
                  <c:v>41822</c:v>
                </c:pt>
                <c:pt idx="858">
                  <c:v>41823</c:v>
                </c:pt>
                <c:pt idx="859">
                  <c:v>41824</c:v>
                </c:pt>
                <c:pt idx="860">
                  <c:v>41827</c:v>
                </c:pt>
                <c:pt idx="861">
                  <c:v>41828</c:v>
                </c:pt>
                <c:pt idx="862">
                  <c:v>41829</c:v>
                </c:pt>
                <c:pt idx="863">
                  <c:v>41830</c:v>
                </c:pt>
                <c:pt idx="864">
                  <c:v>41831</c:v>
                </c:pt>
                <c:pt idx="865">
                  <c:v>41834</c:v>
                </c:pt>
                <c:pt idx="866">
                  <c:v>41835</c:v>
                </c:pt>
                <c:pt idx="867">
                  <c:v>41836</c:v>
                </c:pt>
                <c:pt idx="868">
                  <c:v>41837</c:v>
                </c:pt>
                <c:pt idx="869">
                  <c:v>41838</c:v>
                </c:pt>
                <c:pt idx="870">
                  <c:v>41841</c:v>
                </c:pt>
                <c:pt idx="871">
                  <c:v>41842</c:v>
                </c:pt>
                <c:pt idx="872">
                  <c:v>41843</c:v>
                </c:pt>
                <c:pt idx="873">
                  <c:v>41844</c:v>
                </c:pt>
                <c:pt idx="874">
                  <c:v>41845</c:v>
                </c:pt>
                <c:pt idx="875">
                  <c:v>41848</c:v>
                </c:pt>
                <c:pt idx="876">
                  <c:v>41849</c:v>
                </c:pt>
                <c:pt idx="877">
                  <c:v>41850</c:v>
                </c:pt>
                <c:pt idx="878">
                  <c:v>41851</c:v>
                </c:pt>
                <c:pt idx="879">
                  <c:v>41852</c:v>
                </c:pt>
                <c:pt idx="880">
                  <c:v>41855</c:v>
                </c:pt>
                <c:pt idx="881">
                  <c:v>41856</c:v>
                </c:pt>
                <c:pt idx="882">
                  <c:v>41857</c:v>
                </c:pt>
                <c:pt idx="883">
                  <c:v>41858</c:v>
                </c:pt>
                <c:pt idx="884">
                  <c:v>41859</c:v>
                </c:pt>
                <c:pt idx="885">
                  <c:v>41862</c:v>
                </c:pt>
                <c:pt idx="886">
                  <c:v>41863</c:v>
                </c:pt>
                <c:pt idx="887">
                  <c:v>41864</c:v>
                </c:pt>
                <c:pt idx="888">
                  <c:v>41865</c:v>
                </c:pt>
                <c:pt idx="889">
                  <c:v>41866</c:v>
                </c:pt>
                <c:pt idx="890">
                  <c:v>41869</c:v>
                </c:pt>
                <c:pt idx="891">
                  <c:v>41870</c:v>
                </c:pt>
                <c:pt idx="892">
                  <c:v>41871</c:v>
                </c:pt>
                <c:pt idx="893">
                  <c:v>41872</c:v>
                </c:pt>
                <c:pt idx="894">
                  <c:v>41873</c:v>
                </c:pt>
                <c:pt idx="895">
                  <c:v>41876</c:v>
                </c:pt>
                <c:pt idx="896">
                  <c:v>41877</c:v>
                </c:pt>
                <c:pt idx="897">
                  <c:v>41878</c:v>
                </c:pt>
                <c:pt idx="898">
                  <c:v>41879</c:v>
                </c:pt>
                <c:pt idx="899">
                  <c:v>41880</c:v>
                </c:pt>
                <c:pt idx="900">
                  <c:v>41883</c:v>
                </c:pt>
                <c:pt idx="901">
                  <c:v>41884</c:v>
                </c:pt>
                <c:pt idx="902">
                  <c:v>41885</c:v>
                </c:pt>
                <c:pt idx="903">
                  <c:v>41886</c:v>
                </c:pt>
                <c:pt idx="904">
                  <c:v>41887</c:v>
                </c:pt>
                <c:pt idx="905">
                  <c:v>41890</c:v>
                </c:pt>
                <c:pt idx="906">
                  <c:v>41891</c:v>
                </c:pt>
                <c:pt idx="907">
                  <c:v>41892</c:v>
                </c:pt>
                <c:pt idx="908">
                  <c:v>41893</c:v>
                </c:pt>
                <c:pt idx="909">
                  <c:v>41894</c:v>
                </c:pt>
                <c:pt idx="910">
                  <c:v>41897</c:v>
                </c:pt>
                <c:pt idx="911">
                  <c:v>41898</c:v>
                </c:pt>
                <c:pt idx="912">
                  <c:v>41899</c:v>
                </c:pt>
                <c:pt idx="913">
                  <c:v>41900</c:v>
                </c:pt>
                <c:pt idx="914">
                  <c:v>41901</c:v>
                </c:pt>
                <c:pt idx="915">
                  <c:v>41904</c:v>
                </c:pt>
                <c:pt idx="916">
                  <c:v>41905</c:v>
                </c:pt>
                <c:pt idx="917">
                  <c:v>41906</c:v>
                </c:pt>
                <c:pt idx="918">
                  <c:v>41907</c:v>
                </c:pt>
                <c:pt idx="919">
                  <c:v>41908</c:v>
                </c:pt>
                <c:pt idx="920">
                  <c:v>41911</c:v>
                </c:pt>
                <c:pt idx="921">
                  <c:v>41912</c:v>
                </c:pt>
                <c:pt idx="922">
                  <c:v>41913</c:v>
                </c:pt>
                <c:pt idx="923">
                  <c:v>41914</c:v>
                </c:pt>
                <c:pt idx="924">
                  <c:v>41915</c:v>
                </c:pt>
                <c:pt idx="925">
                  <c:v>41918</c:v>
                </c:pt>
                <c:pt idx="926">
                  <c:v>41919</c:v>
                </c:pt>
                <c:pt idx="927">
                  <c:v>41920</c:v>
                </c:pt>
                <c:pt idx="928">
                  <c:v>41921</c:v>
                </c:pt>
                <c:pt idx="929">
                  <c:v>41922</c:v>
                </c:pt>
                <c:pt idx="930">
                  <c:v>41925</c:v>
                </c:pt>
                <c:pt idx="931">
                  <c:v>41926</c:v>
                </c:pt>
                <c:pt idx="932">
                  <c:v>41927</c:v>
                </c:pt>
                <c:pt idx="933">
                  <c:v>41928</c:v>
                </c:pt>
                <c:pt idx="934">
                  <c:v>41929</c:v>
                </c:pt>
                <c:pt idx="935">
                  <c:v>41932</c:v>
                </c:pt>
                <c:pt idx="936">
                  <c:v>41933</c:v>
                </c:pt>
                <c:pt idx="937">
                  <c:v>41934</c:v>
                </c:pt>
                <c:pt idx="938">
                  <c:v>41935</c:v>
                </c:pt>
                <c:pt idx="939">
                  <c:v>41936</c:v>
                </c:pt>
                <c:pt idx="940">
                  <c:v>41939</c:v>
                </c:pt>
                <c:pt idx="941">
                  <c:v>41940</c:v>
                </c:pt>
                <c:pt idx="942">
                  <c:v>41941</c:v>
                </c:pt>
                <c:pt idx="943">
                  <c:v>41942</c:v>
                </c:pt>
                <c:pt idx="944">
                  <c:v>41943</c:v>
                </c:pt>
                <c:pt idx="945">
                  <c:v>41946</c:v>
                </c:pt>
                <c:pt idx="946">
                  <c:v>41947</c:v>
                </c:pt>
                <c:pt idx="947">
                  <c:v>41948</c:v>
                </c:pt>
                <c:pt idx="948">
                  <c:v>41949</c:v>
                </c:pt>
                <c:pt idx="949">
                  <c:v>41950</c:v>
                </c:pt>
                <c:pt idx="950">
                  <c:v>41953</c:v>
                </c:pt>
                <c:pt idx="951">
                  <c:v>41954</c:v>
                </c:pt>
                <c:pt idx="952">
                  <c:v>41955</c:v>
                </c:pt>
                <c:pt idx="953">
                  <c:v>41956</c:v>
                </c:pt>
                <c:pt idx="954">
                  <c:v>41957</c:v>
                </c:pt>
                <c:pt idx="955">
                  <c:v>41960</c:v>
                </c:pt>
                <c:pt idx="956">
                  <c:v>41961</c:v>
                </c:pt>
                <c:pt idx="957">
                  <c:v>41962</c:v>
                </c:pt>
                <c:pt idx="958">
                  <c:v>41963</c:v>
                </c:pt>
                <c:pt idx="959">
                  <c:v>41964</c:v>
                </c:pt>
                <c:pt idx="960">
                  <c:v>41967</c:v>
                </c:pt>
                <c:pt idx="961">
                  <c:v>41968</c:v>
                </c:pt>
                <c:pt idx="962">
                  <c:v>41969</c:v>
                </c:pt>
                <c:pt idx="963">
                  <c:v>41970</c:v>
                </c:pt>
                <c:pt idx="964">
                  <c:v>41971</c:v>
                </c:pt>
                <c:pt idx="965">
                  <c:v>41974</c:v>
                </c:pt>
                <c:pt idx="966">
                  <c:v>41975</c:v>
                </c:pt>
                <c:pt idx="967">
                  <c:v>41976</c:v>
                </c:pt>
                <c:pt idx="968">
                  <c:v>41977</c:v>
                </c:pt>
                <c:pt idx="969">
                  <c:v>41978</c:v>
                </c:pt>
                <c:pt idx="970">
                  <c:v>41981</c:v>
                </c:pt>
                <c:pt idx="971">
                  <c:v>41982</c:v>
                </c:pt>
                <c:pt idx="972">
                  <c:v>41983</c:v>
                </c:pt>
                <c:pt idx="973">
                  <c:v>41984</c:v>
                </c:pt>
                <c:pt idx="974">
                  <c:v>41985</c:v>
                </c:pt>
                <c:pt idx="975">
                  <c:v>41988</c:v>
                </c:pt>
                <c:pt idx="976">
                  <c:v>41989</c:v>
                </c:pt>
                <c:pt idx="977">
                  <c:v>41990</c:v>
                </c:pt>
                <c:pt idx="978">
                  <c:v>41991</c:v>
                </c:pt>
                <c:pt idx="979">
                  <c:v>41992</c:v>
                </c:pt>
                <c:pt idx="980">
                  <c:v>41995</c:v>
                </c:pt>
                <c:pt idx="981">
                  <c:v>41996</c:v>
                </c:pt>
                <c:pt idx="982">
                  <c:v>41997</c:v>
                </c:pt>
                <c:pt idx="983">
                  <c:v>42002</c:v>
                </c:pt>
                <c:pt idx="984">
                  <c:v>42003</c:v>
                </c:pt>
                <c:pt idx="985">
                  <c:v>42004</c:v>
                </c:pt>
                <c:pt idx="986">
                  <c:v>42006</c:v>
                </c:pt>
                <c:pt idx="987">
                  <c:v>42009</c:v>
                </c:pt>
                <c:pt idx="988">
                  <c:v>42010</c:v>
                </c:pt>
                <c:pt idx="989">
                  <c:v>42011</c:v>
                </c:pt>
                <c:pt idx="990">
                  <c:v>42012</c:v>
                </c:pt>
                <c:pt idx="991">
                  <c:v>42013</c:v>
                </c:pt>
                <c:pt idx="992">
                  <c:v>42016</c:v>
                </c:pt>
                <c:pt idx="993">
                  <c:v>42017</c:v>
                </c:pt>
                <c:pt idx="994">
                  <c:v>42018</c:v>
                </c:pt>
                <c:pt idx="995">
                  <c:v>42019</c:v>
                </c:pt>
                <c:pt idx="996">
                  <c:v>42020</c:v>
                </c:pt>
                <c:pt idx="997">
                  <c:v>42023</c:v>
                </c:pt>
                <c:pt idx="998">
                  <c:v>42024</c:v>
                </c:pt>
                <c:pt idx="999">
                  <c:v>42025</c:v>
                </c:pt>
                <c:pt idx="1000">
                  <c:v>42026</c:v>
                </c:pt>
                <c:pt idx="1001">
                  <c:v>42027</c:v>
                </c:pt>
                <c:pt idx="1002">
                  <c:v>42030</c:v>
                </c:pt>
                <c:pt idx="1003">
                  <c:v>42031</c:v>
                </c:pt>
                <c:pt idx="1004">
                  <c:v>42032</c:v>
                </c:pt>
                <c:pt idx="1005">
                  <c:v>42033</c:v>
                </c:pt>
                <c:pt idx="1006">
                  <c:v>42034</c:v>
                </c:pt>
                <c:pt idx="1007">
                  <c:v>42037</c:v>
                </c:pt>
                <c:pt idx="1008">
                  <c:v>42038</c:v>
                </c:pt>
                <c:pt idx="1009">
                  <c:v>42039</c:v>
                </c:pt>
                <c:pt idx="1010">
                  <c:v>42040</c:v>
                </c:pt>
                <c:pt idx="1011">
                  <c:v>42041</c:v>
                </c:pt>
                <c:pt idx="1012">
                  <c:v>42044</c:v>
                </c:pt>
                <c:pt idx="1013">
                  <c:v>42045</c:v>
                </c:pt>
                <c:pt idx="1014">
                  <c:v>42046</c:v>
                </c:pt>
                <c:pt idx="1015">
                  <c:v>42047</c:v>
                </c:pt>
                <c:pt idx="1016">
                  <c:v>42048</c:v>
                </c:pt>
                <c:pt idx="1017">
                  <c:v>42051</c:v>
                </c:pt>
                <c:pt idx="1018">
                  <c:v>42052</c:v>
                </c:pt>
                <c:pt idx="1019">
                  <c:v>42053</c:v>
                </c:pt>
                <c:pt idx="1020">
                  <c:v>42054</c:v>
                </c:pt>
                <c:pt idx="1021">
                  <c:v>42055</c:v>
                </c:pt>
                <c:pt idx="1022">
                  <c:v>42058</c:v>
                </c:pt>
                <c:pt idx="1023">
                  <c:v>42059</c:v>
                </c:pt>
                <c:pt idx="1024">
                  <c:v>42060</c:v>
                </c:pt>
                <c:pt idx="1025">
                  <c:v>42061</c:v>
                </c:pt>
                <c:pt idx="1026">
                  <c:v>42062</c:v>
                </c:pt>
                <c:pt idx="1027">
                  <c:v>42065</c:v>
                </c:pt>
                <c:pt idx="1028">
                  <c:v>42066</c:v>
                </c:pt>
                <c:pt idx="1029">
                  <c:v>42067</c:v>
                </c:pt>
                <c:pt idx="1030">
                  <c:v>42068</c:v>
                </c:pt>
                <c:pt idx="1031">
                  <c:v>42069</c:v>
                </c:pt>
                <c:pt idx="1032">
                  <c:v>42072</c:v>
                </c:pt>
                <c:pt idx="1033">
                  <c:v>42073</c:v>
                </c:pt>
                <c:pt idx="1034">
                  <c:v>42074</c:v>
                </c:pt>
                <c:pt idx="1035">
                  <c:v>42075</c:v>
                </c:pt>
                <c:pt idx="1036">
                  <c:v>42076</c:v>
                </c:pt>
                <c:pt idx="1037">
                  <c:v>42079</c:v>
                </c:pt>
                <c:pt idx="1038">
                  <c:v>42080</c:v>
                </c:pt>
                <c:pt idx="1039">
                  <c:v>42081</c:v>
                </c:pt>
                <c:pt idx="1040">
                  <c:v>42082</c:v>
                </c:pt>
                <c:pt idx="1041">
                  <c:v>42083</c:v>
                </c:pt>
                <c:pt idx="1042">
                  <c:v>42086</c:v>
                </c:pt>
                <c:pt idx="1043">
                  <c:v>42087</c:v>
                </c:pt>
                <c:pt idx="1044">
                  <c:v>42088</c:v>
                </c:pt>
                <c:pt idx="1045">
                  <c:v>42089</c:v>
                </c:pt>
                <c:pt idx="1046">
                  <c:v>42090</c:v>
                </c:pt>
                <c:pt idx="1047">
                  <c:v>42093</c:v>
                </c:pt>
                <c:pt idx="1048">
                  <c:v>42094</c:v>
                </c:pt>
                <c:pt idx="1049">
                  <c:v>42095</c:v>
                </c:pt>
                <c:pt idx="1050">
                  <c:v>42096</c:v>
                </c:pt>
                <c:pt idx="1051">
                  <c:v>42101</c:v>
                </c:pt>
                <c:pt idx="1052">
                  <c:v>42102</c:v>
                </c:pt>
                <c:pt idx="1053">
                  <c:v>42103</c:v>
                </c:pt>
                <c:pt idx="1054">
                  <c:v>42104</c:v>
                </c:pt>
                <c:pt idx="1055">
                  <c:v>42107</c:v>
                </c:pt>
                <c:pt idx="1056">
                  <c:v>42108</c:v>
                </c:pt>
                <c:pt idx="1057">
                  <c:v>42109</c:v>
                </c:pt>
                <c:pt idx="1058">
                  <c:v>42110</c:v>
                </c:pt>
                <c:pt idx="1059">
                  <c:v>42111</c:v>
                </c:pt>
                <c:pt idx="1060">
                  <c:v>42114</c:v>
                </c:pt>
                <c:pt idx="1061">
                  <c:v>42115</c:v>
                </c:pt>
                <c:pt idx="1062">
                  <c:v>42116</c:v>
                </c:pt>
                <c:pt idx="1063">
                  <c:v>42117</c:v>
                </c:pt>
                <c:pt idx="1064">
                  <c:v>42118</c:v>
                </c:pt>
                <c:pt idx="1065">
                  <c:v>42121</c:v>
                </c:pt>
                <c:pt idx="1066">
                  <c:v>42122</c:v>
                </c:pt>
                <c:pt idx="1067">
                  <c:v>42123</c:v>
                </c:pt>
                <c:pt idx="1068">
                  <c:v>42124</c:v>
                </c:pt>
                <c:pt idx="1069">
                  <c:v>42125</c:v>
                </c:pt>
                <c:pt idx="1070">
                  <c:v>42128</c:v>
                </c:pt>
                <c:pt idx="1071">
                  <c:v>42129</c:v>
                </c:pt>
                <c:pt idx="1072">
                  <c:v>42130</c:v>
                </c:pt>
                <c:pt idx="1073">
                  <c:v>42131</c:v>
                </c:pt>
                <c:pt idx="1074">
                  <c:v>42132</c:v>
                </c:pt>
                <c:pt idx="1075">
                  <c:v>42135</c:v>
                </c:pt>
                <c:pt idx="1076">
                  <c:v>42136</c:v>
                </c:pt>
                <c:pt idx="1077">
                  <c:v>42137</c:v>
                </c:pt>
                <c:pt idx="1078">
                  <c:v>42138</c:v>
                </c:pt>
                <c:pt idx="1079">
                  <c:v>42139</c:v>
                </c:pt>
                <c:pt idx="1080">
                  <c:v>42142</c:v>
                </c:pt>
                <c:pt idx="1081">
                  <c:v>42143</c:v>
                </c:pt>
                <c:pt idx="1082">
                  <c:v>42144</c:v>
                </c:pt>
                <c:pt idx="1083">
                  <c:v>42145</c:v>
                </c:pt>
                <c:pt idx="1084">
                  <c:v>42146</c:v>
                </c:pt>
                <c:pt idx="1085">
                  <c:v>42149</c:v>
                </c:pt>
                <c:pt idx="1086">
                  <c:v>42150</c:v>
                </c:pt>
                <c:pt idx="1087">
                  <c:v>42151</c:v>
                </c:pt>
                <c:pt idx="1088">
                  <c:v>42152</c:v>
                </c:pt>
                <c:pt idx="1089">
                  <c:v>42153</c:v>
                </c:pt>
                <c:pt idx="1090">
                  <c:v>42156</c:v>
                </c:pt>
                <c:pt idx="1091">
                  <c:v>42157</c:v>
                </c:pt>
                <c:pt idx="1092">
                  <c:v>42158</c:v>
                </c:pt>
                <c:pt idx="1093">
                  <c:v>42159</c:v>
                </c:pt>
                <c:pt idx="1094">
                  <c:v>42160</c:v>
                </c:pt>
                <c:pt idx="1095">
                  <c:v>42163</c:v>
                </c:pt>
                <c:pt idx="1096">
                  <c:v>42164</c:v>
                </c:pt>
                <c:pt idx="1097">
                  <c:v>42165</c:v>
                </c:pt>
                <c:pt idx="1098">
                  <c:v>42166</c:v>
                </c:pt>
                <c:pt idx="1099">
                  <c:v>42167</c:v>
                </c:pt>
                <c:pt idx="1100">
                  <c:v>42170</c:v>
                </c:pt>
                <c:pt idx="1101">
                  <c:v>42171</c:v>
                </c:pt>
                <c:pt idx="1102">
                  <c:v>42172</c:v>
                </c:pt>
                <c:pt idx="1103">
                  <c:v>42173</c:v>
                </c:pt>
                <c:pt idx="1104">
                  <c:v>42174</c:v>
                </c:pt>
                <c:pt idx="1105">
                  <c:v>42177</c:v>
                </c:pt>
                <c:pt idx="1106">
                  <c:v>42178</c:v>
                </c:pt>
                <c:pt idx="1107">
                  <c:v>42179</c:v>
                </c:pt>
                <c:pt idx="1108">
                  <c:v>42180</c:v>
                </c:pt>
                <c:pt idx="1109">
                  <c:v>42181</c:v>
                </c:pt>
                <c:pt idx="1110">
                  <c:v>42184</c:v>
                </c:pt>
                <c:pt idx="1111">
                  <c:v>42185</c:v>
                </c:pt>
                <c:pt idx="1112">
                  <c:v>42186</c:v>
                </c:pt>
                <c:pt idx="1113">
                  <c:v>42187</c:v>
                </c:pt>
                <c:pt idx="1114">
                  <c:v>42188</c:v>
                </c:pt>
                <c:pt idx="1115">
                  <c:v>42191</c:v>
                </c:pt>
                <c:pt idx="1116">
                  <c:v>42192</c:v>
                </c:pt>
                <c:pt idx="1117">
                  <c:v>42193</c:v>
                </c:pt>
                <c:pt idx="1118">
                  <c:v>42194</c:v>
                </c:pt>
                <c:pt idx="1119">
                  <c:v>42195</c:v>
                </c:pt>
                <c:pt idx="1120">
                  <c:v>42198</c:v>
                </c:pt>
                <c:pt idx="1121">
                  <c:v>42199</c:v>
                </c:pt>
                <c:pt idx="1122">
                  <c:v>42200</c:v>
                </c:pt>
                <c:pt idx="1123">
                  <c:v>42201</c:v>
                </c:pt>
                <c:pt idx="1124">
                  <c:v>42202</c:v>
                </c:pt>
                <c:pt idx="1125">
                  <c:v>42205</c:v>
                </c:pt>
                <c:pt idx="1126">
                  <c:v>42206</c:v>
                </c:pt>
                <c:pt idx="1127">
                  <c:v>42207</c:v>
                </c:pt>
                <c:pt idx="1128">
                  <c:v>42208</c:v>
                </c:pt>
                <c:pt idx="1129">
                  <c:v>42209</c:v>
                </c:pt>
                <c:pt idx="1130">
                  <c:v>42212</c:v>
                </c:pt>
                <c:pt idx="1131">
                  <c:v>42213</c:v>
                </c:pt>
                <c:pt idx="1132">
                  <c:v>42214</c:v>
                </c:pt>
                <c:pt idx="1133">
                  <c:v>42215</c:v>
                </c:pt>
                <c:pt idx="1134">
                  <c:v>42216</c:v>
                </c:pt>
                <c:pt idx="1135">
                  <c:v>42219</c:v>
                </c:pt>
                <c:pt idx="1136">
                  <c:v>42220</c:v>
                </c:pt>
                <c:pt idx="1137">
                  <c:v>42221</c:v>
                </c:pt>
                <c:pt idx="1138">
                  <c:v>42222</c:v>
                </c:pt>
                <c:pt idx="1139">
                  <c:v>42223</c:v>
                </c:pt>
                <c:pt idx="1140">
                  <c:v>42226</c:v>
                </c:pt>
                <c:pt idx="1141">
                  <c:v>42227</c:v>
                </c:pt>
                <c:pt idx="1142">
                  <c:v>42228</c:v>
                </c:pt>
                <c:pt idx="1143">
                  <c:v>42229</c:v>
                </c:pt>
                <c:pt idx="1144">
                  <c:v>42230</c:v>
                </c:pt>
                <c:pt idx="1145">
                  <c:v>42233</c:v>
                </c:pt>
                <c:pt idx="1146">
                  <c:v>42234</c:v>
                </c:pt>
                <c:pt idx="1147">
                  <c:v>42235</c:v>
                </c:pt>
                <c:pt idx="1148">
                  <c:v>42236</c:v>
                </c:pt>
                <c:pt idx="1149">
                  <c:v>42237</c:v>
                </c:pt>
                <c:pt idx="1150">
                  <c:v>42240</c:v>
                </c:pt>
                <c:pt idx="1151">
                  <c:v>42241</c:v>
                </c:pt>
                <c:pt idx="1152">
                  <c:v>42242</c:v>
                </c:pt>
                <c:pt idx="1153">
                  <c:v>42243</c:v>
                </c:pt>
                <c:pt idx="1154">
                  <c:v>42244</c:v>
                </c:pt>
                <c:pt idx="1155">
                  <c:v>42247</c:v>
                </c:pt>
                <c:pt idx="1156">
                  <c:v>42248</c:v>
                </c:pt>
                <c:pt idx="1157">
                  <c:v>42249</c:v>
                </c:pt>
                <c:pt idx="1158">
                  <c:v>42250</c:v>
                </c:pt>
                <c:pt idx="1159">
                  <c:v>42251</c:v>
                </c:pt>
                <c:pt idx="1160">
                  <c:v>42254</c:v>
                </c:pt>
                <c:pt idx="1161">
                  <c:v>42255</c:v>
                </c:pt>
                <c:pt idx="1162">
                  <c:v>42256</c:v>
                </c:pt>
                <c:pt idx="1163">
                  <c:v>42257</c:v>
                </c:pt>
                <c:pt idx="1164">
                  <c:v>42258</c:v>
                </c:pt>
                <c:pt idx="1165">
                  <c:v>42261</c:v>
                </c:pt>
                <c:pt idx="1166">
                  <c:v>42262</c:v>
                </c:pt>
                <c:pt idx="1167">
                  <c:v>42263</c:v>
                </c:pt>
                <c:pt idx="1168">
                  <c:v>42264</c:v>
                </c:pt>
                <c:pt idx="1169">
                  <c:v>42265</c:v>
                </c:pt>
                <c:pt idx="1170">
                  <c:v>42268</c:v>
                </c:pt>
                <c:pt idx="1171">
                  <c:v>42269</c:v>
                </c:pt>
                <c:pt idx="1172">
                  <c:v>42270</c:v>
                </c:pt>
                <c:pt idx="1173">
                  <c:v>42271</c:v>
                </c:pt>
                <c:pt idx="1174">
                  <c:v>42272</c:v>
                </c:pt>
                <c:pt idx="1175">
                  <c:v>42275</c:v>
                </c:pt>
                <c:pt idx="1176">
                  <c:v>42276</c:v>
                </c:pt>
                <c:pt idx="1177">
                  <c:v>42277</c:v>
                </c:pt>
                <c:pt idx="1178">
                  <c:v>42278</c:v>
                </c:pt>
                <c:pt idx="1179">
                  <c:v>42279</c:v>
                </c:pt>
                <c:pt idx="1180">
                  <c:v>42282</c:v>
                </c:pt>
                <c:pt idx="1181">
                  <c:v>42283</c:v>
                </c:pt>
                <c:pt idx="1182">
                  <c:v>42284</c:v>
                </c:pt>
                <c:pt idx="1183">
                  <c:v>42285</c:v>
                </c:pt>
                <c:pt idx="1184">
                  <c:v>42286</c:v>
                </c:pt>
                <c:pt idx="1185">
                  <c:v>42289</c:v>
                </c:pt>
                <c:pt idx="1186">
                  <c:v>42290</c:v>
                </c:pt>
                <c:pt idx="1187">
                  <c:v>42291</c:v>
                </c:pt>
                <c:pt idx="1188">
                  <c:v>42292</c:v>
                </c:pt>
                <c:pt idx="1189">
                  <c:v>42293</c:v>
                </c:pt>
                <c:pt idx="1190">
                  <c:v>42296</c:v>
                </c:pt>
                <c:pt idx="1191">
                  <c:v>42297</c:v>
                </c:pt>
                <c:pt idx="1192">
                  <c:v>42298</c:v>
                </c:pt>
                <c:pt idx="1193">
                  <c:v>42299</c:v>
                </c:pt>
                <c:pt idx="1194">
                  <c:v>42300</c:v>
                </c:pt>
                <c:pt idx="1195">
                  <c:v>42303</c:v>
                </c:pt>
                <c:pt idx="1196">
                  <c:v>42304</c:v>
                </c:pt>
                <c:pt idx="1197">
                  <c:v>42305</c:v>
                </c:pt>
                <c:pt idx="1198">
                  <c:v>42306</c:v>
                </c:pt>
                <c:pt idx="1199">
                  <c:v>42307</c:v>
                </c:pt>
                <c:pt idx="1200">
                  <c:v>42310</c:v>
                </c:pt>
                <c:pt idx="1201">
                  <c:v>42311</c:v>
                </c:pt>
                <c:pt idx="1202">
                  <c:v>42312</c:v>
                </c:pt>
                <c:pt idx="1203">
                  <c:v>42313</c:v>
                </c:pt>
                <c:pt idx="1204">
                  <c:v>42314</c:v>
                </c:pt>
                <c:pt idx="1205">
                  <c:v>42317</c:v>
                </c:pt>
                <c:pt idx="1206">
                  <c:v>42318</c:v>
                </c:pt>
                <c:pt idx="1207">
                  <c:v>42319</c:v>
                </c:pt>
                <c:pt idx="1208">
                  <c:v>42320</c:v>
                </c:pt>
                <c:pt idx="1209">
                  <c:v>42321</c:v>
                </c:pt>
                <c:pt idx="1210">
                  <c:v>42324</c:v>
                </c:pt>
                <c:pt idx="1211">
                  <c:v>42325</c:v>
                </c:pt>
                <c:pt idx="1212">
                  <c:v>42326</c:v>
                </c:pt>
                <c:pt idx="1213">
                  <c:v>42327</c:v>
                </c:pt>
                <c:pt idx="1214">
                  <c:v>42328</c:v>
                </c:pt>
                <c:pt idx="1215">
                  <c:v>42331</c:v>
                </c:pt>
                <c:pt idx="1216">
                  <c:v>42332</c:v>
                </c:pt>
                <c:pt idx="1217">
                  <c:v>42333</c:v>
                </c:pt>
                <c:pt idx="1218">
                  <c:v>42334</c:v>
                </c:pt>
                <c:pt idx="1219">
                  <c:v>42335</c:v>
                </c:pt>
                <c:pt idx="1220">
                  <c:v>42338</c:v>
                </c:pt>
                <c:pt idx="1221">
                  <c:v>42339</c:v>
                </c:pt>
                <c:pt idx="1222">
                  <c:v>42340</c:v>
                </c:pt>
                <c:pt idx="1223">
                  <c:v>42341</c:v>
                </c:pt>
                <c:pt idx="1224">
                  <c:v>42342</c:v>
                </c:pt>
                <c:pt idx="1225">
                  <c:v>42345</c:v>
                </c:pt>
                <c:pt idx="1226">
                  <c:v>42346</c:v>
                </c:pt>
                <c:pt idx="1227">
                  <c:v>42347</c:v>
                </c:pt>
                <c:pt idx="1228">
                  <c:v>42348</c:v>
                </c:pt>
                <c:pt idx="1229">
                  <c:v>42349</c:v>
                </c:pt>
                <c:pt idx="1230">
                  <c:v>42352</c:v>
                </c:pt>
                <c:pt idx="1231">
                  <c:v>42353</c:v>
                </c:pt>
                <c:pt idx="1232">
                  <c:v>42354</c:v>
                </c:pt>
                <c:pt idx="1233">
                  <c:v>42355</c:v>
                </c:pt>
                <c:pt idx="1234">
                  <c:v>42356</c:v>
                </c:pt>
                <c:pt idx="1235">
                  <c:v>42359</c:v>
                </c:pt>
                <c:pt idx="1236">
                  <c:v>42360</c:v>
                </c:pt>
                <c:pt idx="1237">
                  <c:v>42361</c:v>
                </c:pt>
                <c:pt idx="1238">
                  <c:v>42362</c:v>
                </c:pt>
                <c:pt idx="1239">
                  <c:v>42366</c:v>
                </c:pt>
                <c:pt idx="1240">
                  <c:v>42367</c:v>
                </c:pt>
                <c:pt idx="1241">
                  <c:v>42368</c:v>
                </c:pt>
                <c:pt idx="1242">
                  <c:v>42369</c:v>
                </c:pt>
                <c:pt idx="1243">
                  <c:v>42373</c:v>
                </c:pt>
                <c:pt idx="1244">
                  <c:v>42374</c:v>
                </c:pt>
                <c:pt idx="1245">
                  <c:v>42375</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249982336"/>
        <c:axId val="250258944"/>
      </c:lineChart>
      <c:dateAx>
        <c:axId val="249982336"/>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50258944"/>
        <c:crosses val="autoZero"/>
        <c:auto val="1"/>
        <c:lblOffset val="100"/>
        <c:baseTimeUnit val="days"/>
      </c:dateAx>
      <c:valAx>
        <c:axId val="250258944"/>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49982336"/>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39621374304604395"/>
          <c:h val="0.84222440944882093"/>
        </c:manualLayout>
      </c:layout>
      <c:barChart>
        <c:barDir val="bar"/>
        <c:grouping val="clustered"/>
        <c:varyColors val="0"/>
        <c:ser>
          <c:idx val="0"/>
          <c:order val="0"/>
          <c:tx>
            <c:strRef>
              <c:f>Sheet0!$B$1</c:f>
              <c:strCache>
                <c:ptCount val="1"/>
              </c:strCache>
            </c:strRef>
          </c:tx>
          <c:spPr>
            <a:solidFill>
              <a:schemeClr val="accent1"/>
            </a:solidFill>
            <a:ln>
              <a:solidFill>
                <a:schemeClr val="accent1"/>
              </a:solidFill>
            </a:ln>
          </c:spPr>
          <c:invertIfNegative val="0"/>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0!$A$2:$A$11</c:f>
              <c:strCache>
                <c:ptCount val="10"/>
                <c:pt idx="0">
                  <c:v>Media</c:v>
                </c:pt>
                <c:pt idx="1">
                  <c:v>Health Care</c:v>
                </c:pt>
                <c:pt idx="2">
                  <c:v>Personal &amp; Household Goods</c:v>
                </c:pt>
                <c:pt idx="3">
                  <c:v>Industrial Goods &amp; Services</c:v>
                </c:pt>
                <c:pt idx="4">
                  <c:v>Oil &amp; Gas</c:v>
                </c:pt>
                <c:pt idx="5">
                  <c:v>Banks</c:v>
                </c:pt>
                <c:pt idx="6">
                  <c:v>Telecommunications</c:v>
                </c:pt>
                <c:pt idx="7">
                  <c:v>Insurance</c:v>
                </c:pt>
                <c:pt idx="8">
                  <c:v>Real Estate</c:v>
                </c:pt>
                <c:pt idx="9">
                  <c:v>Utilities</c:v>
                </c:pt>
              </c:strCache>
            </c:strRef>
          </c:cat>
          <c:val>
            <c:numRef>
              <c:f>Sheet0!$B$2:$B$11</c:f>
              <c:numCache>
                <c:formatCode>0.00%</c:formatCode>
                <c:ptCount val="10"/>
                <c:pt idx="0">
                  <c:v>4.1854799999999998E-2</c:v>
                </c:pt>
                <c:pt idx="1">
                  <c:v>4.6413799999999998E-2</c:v>
                </c:pt>
                <c:pt idx="2">
                  <c:v>5.6023400000000001E-2</c:v>
                </c:pt>
                <c:pt idx="3">
                  <c:v>5.6460499999999997E-2</c:v>
                </c:pt>
                <c:pt idx="4">
                  <c:v>6.6596900000000001E-2</c:v>
                </c:pt>
                <c:pt idx="5">
                  <c:v>8.5384100000000004E-2</c:v>
                </c:pt>
                <c:pt idx="6">
                  <c:v>9.5060900000000004E-2</c:v>
                </c:pt>
                <c:pt idx="7">
                  <c:v>0.1242094</c:v>
                </c:pt>
                <c:pt idx="8">
                  <c:v>0.14887400000000001</c:v>
                </c:pt>
                <c:pt idx="9">
                  <c:v>0.17383180000000001</c:v>
                </c:pt>
              </c:numCache>
            </c:numRef>
          </c:val>
        </c:ser>
        <c:dLbls>
          <c:showLegendKey val="0"/>
          <c:showVal val="0"/>
          <c:showCatName val="0"/>
          <c:showSerName val="0"/>
          <c:showPercent val="0"/>
          <c:showBubbleSize val="0"/>
        </c:dLbls>
        <c:gapWidth val="150"/>
        <c:axId val="250636160"/>
        <c:axId val="250637696"/>
      </c:barChart>
      <c:catAx>
        <c:axId val="25063616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50637696"/>
        <c:crosses val="autoZero"/>
        <c:auto val="1"/>
        <c:lblAlgn val="ctr"/>
        <c:lblOffset val="100"/>
        <c:noMultiLvlLbl val="0"/>
      </c:catAx>
      <c:valAx>
        <c:axId val="250637696"/>
        <c:scaling>
          <c:orientation val="minMax"/>
        </c:scaling>
        <c:delete val="1"/>
        <c:axPos val="b"/>
        <c:numFmt formatCode="0.00%" sourceLinked="1"/>
        <c:majorTickMark val="out"/>
        <c:minorTickMark val="none"/>
        <c:tickLblPos val="none"/>
        <c:crossAx val="25063616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85575933600897"/>
          <c:y val="5.0269935770223852E-2"/>
          <c:w val="0.4748163584202838"/>
          <c:h val="0.84222440944882093"/>
        </c:manualLayout>
      </c:layout>
      <c:barChart>
        <c:barDir val="bar"/>
        <c:grouping val="clustered"/>
        <c:varyColors val="0"/>
        <c:ser>
          <c:idx val="0"/>
          <c:order val="0"/>
          <c:tx>
            <c:strRef>
              <c:f>Sheet0!$B$1</c:f>
              <c:strCache>
                <c:ptCount val="1"/>
              </c:strCache>
            </c:strRef>
          </c:tx>
          <c:spPr>
            <a:solidFill>
              <a:schemeClr val="accent1"/>
            </a:solidFill>
            <a:ln>
              <a:solidFill>
                <a:schemeClr val="accent1"/>
              </a:solidFill>
            </a:ln>
          </c:spPr>
          <c:invertIfNegative val="0"/>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0!$A$2:$A$11</c:f>
              <c:strCache>
                <c:ptCount val="10"/>
                <c:pt idx="0">
                  <c:v>Japan</c:v>
                </c:pt>
                <c:pt idx="1">
                  <c:v>Germany</c:v>
                </c:pt>
                <c:pt idx="2">
                  <c:v>France</c:v>
                </c:pt>
                <c:pt idx="3">
                  <c:v>Switzerland</c:v>
                </c:pt>
                <c:pt idx="4">
                  <c:v>Australia</c:v>
                </c:pt>
                <c:pt idx="5">
                  <c:v>Canada</c:v>
                </c:pt>
                <c:pt idx="6">
                  <c:v>Hong Kong</c:v>
                </c:pt>
                <c:pt idx="7">
                  <c:v>Singapore</c:v>
                </c:pt>
                <c:pt idx="8">
                  <c:v>Great Britain</c:v>
                </c:pt>
                <c:pt idx="9">
                  <c:v>United States</c:v>
                </c:pt>
              </c:strCache>
            </c:strRef>
          </c:cat>
          <c:val>
            <c:numRef>
              <c:f>Sheet0!$B$2:$B$11</c:f>
              <c:numCache>
                <c:formatCode>0.00%</c:formatCode>
                <c:ptCount val="10"/>
                <c:pt idx="0">
                  <c:v>1.86547E-2</c:v>
                </c:pt>
                <c:pt idx="1">
                  <c:v>2.6503100000000002E-2</c:v>
                </c:pt>
                <c:pt idx="2">
                  <c:v>4.9637899999999999E-2</c:v>
                </c:pt>
                <c:pt idx="3">
                  <c:v>7.4372499999999994E-2</c:v>
                </c:pt>
                <c:pt idx="4">
                  <c:v>8.0116199999999999E-2</c:v>
                </c:pt>
                <c:pt idx="5">
                  <c:v>8.4289500000000003E-2</c:v>
                </c:pt>
                <c:pt idx="6">
                  <c:v>0.1058803</c:v>
                </c:pt>
                <c:pt idx="7">
                  <c:v>0.110303</c:v>
                </c:pt>
                <c:pt idx="8">
                  <c:v>0.13245419999999999</c:v>
                </c:pt>
                <c:pt idx="9">
                  <c:v>0.2639608</c:v>
                </c:pt>
              </c:numCache>
            </c:numRef>
          </c:val>
        </c:ser>
        <c:dLbls>
          <c:showLegendKey val="0"/>
          <c:showVal val="0"/>
          <c:showCatName val="0"/>
          <c:showSerName val="0"/>
          <c:showPercent val="0"/>
          <c:showBubbleSize val="0"/>
        </c:dLbls>
        <c:gapWidth val="150"/>
        <c:axId val="176135168"/>
        <c:axId val="217748224"/>
      </c:barChart>
      <c:catAx>
        <c:axId val="176135168"/>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17748224"/>
        <c:crosses val="autoZero"/>
        <c:auto val="1"/>
        <c:lblAlgn val="ctr"/>
        <c:lblOffset val="100"/>
        <c:noMultiLvlLbl val="0"/>
      </c:catAx>
      <c:valAx>
        <c:axId val="217748224"/>
        <c:scaling>
          <c:orientation val="minMax"/>
        </c:scaling>
        <c:delete val="1"/>
        <c:axPos val="b"/>
        <c:numFmt formatCode="0.00%" sourceLinked="1"/>
        <c:majorTickMark val="out"/>
        <c:minorTickMark val="none"/>
        <c:tickLblPos val="none"/>
        <c:crossAx val="176135168"/>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29.03.2016</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smtClean="0"/>
              <a:t>March, </a:t>
            </a:r>
            <a:r>
              <a:rPr lang="en-US" dirty="0" smtClean="0"/>
              <a:t>2016</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dirty="0" smtClean="0"/>
              <a:t> GLOBAL SELECT DIVIDEND 10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References</a:t>
            </a:r>
            <a:endParaRPr lang="en-US" baseline="30000" dirty="0" smtClean="0"/>
          </a:p>
        </p:txBody>
      </p:sp>
      <p:sp>
        <p:nvSpPr>
          <p:cNvPr id="28" name="TextBox 27"/>
          <p:cNvSpPr txBox="1"/>
          <p:nvPr/>
        </p:nvSpPr>
        <p:spPr>
          <a:xfrm>
            <a:off x="9307298" y="6487889"/>
            <a:ext cx="527957" cy="175433"/>
          </a:xfrm>
          <a:prstGeom prst="rect">
            <a:avLst/>
          </a:prstGeom>
          <a:solidFill>
            <a:schemeClr val="bg1"/>
          </a:solidFill>
        </p:spPr>
        <p:txBody>
          <a:bodyPr wrap="square" lIns="0" tIns="0" rIns="0" bIns="0" rtlCol="0">
            <a:spAutoFit/>
          </a:bodyPr>
          <a:lstStyle/>
          <a:p>
            <a:pPr algn="l">
              <a:lnSpc>
                <a:spcPct val="95000"/>
              </a:lnSpc>
            </a:pPr>
            <a:r>
              <a:rPr lang="en-US" sz="1200" b="0" dirty="0" smtClean="0"/>
              <a:t> </a:t>
            </a:r>
            <a:fld id="{9713B8C3-2C6E-429C-B53D-6800F49006AC}" type="slidenum">
              <a:rPr lang="en-US" sz="1200" b="0" smtClean="0"/>
              <a:pPr algn="l">
                <a:lnSpc>
                  <a:spcPct val="95000"/>
                </a:lnSpc>
              </a:pPr>
              <a:t>10</a:t>
            </a:fld>
            <a:endParaRPr lang="en-US" sz="1200" b="0" dirty="0" smtClean="0"/>
          </a:p>
        </p:txBody>
      </p:sp>
      <p:sp>
        <p:nvSpPr>
          <p:cNvPr id="2"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4"/>
          <p:cNvSpPr>
            <a:spLocks noChangeArrowheads="1"/>
          </p:cNvSpPr>
          <p:nvPr/>
        </p:nvSpPr>
        <p:spPr bwMode="auto">
          <a:xfrm>
            <a:off x="368300" y="1540760"/>
            <a:ext cx="9155113" cy="4062069"/>
          </a:xfrm>
          <a:prstGeom prst="rect">
            <a:avLst/>
          </a:prstGeom>
          <a:noFill/>
          <a:ln w="9525">
            <a:noFill/>
            <a:miter lim="800000"/>
            <a:headEnd/>
            <a:tailEnd/>
          </a:ln>
        </p:spPr>
        <p:txBody>
          <a:bodyPr wrap="square" lIns="0" tIns="36000" rIns="0" bIns="0">
            <a:spAutoFit/>
          </a:bodyPr>
          <a:lstStyle/>
          <a:p>
            <a:pPr marL="190500" lvl="1" indent="-188913">
              <a:lnSpc>
                <a:spcPct val="80000"/>
              </a:lnSpc>
              <a:spcBef>
                <a:spcPct val="0"/>
              </a:spcBef>
              <a:spcAft>
                <a:spcPts val="600"/>
              </a:spcAft>
              <a:buFont typeface="Arial" charset="0"/>
              <a:buChar char="»"/>
            </a:pPr>
            <a:r>
              <a:rPr lang="en-US" sz="1400" dirty="0" smtClean="0"/>
              <a:t>Campbell</a:t>
            </a:r>
            <a:r>
              <a:rPr lang="en-US" sz="1400" dirty="0"/>
              <a:t>, J. and R. Shiller, The Dividend-Price Ratio and Expectations of Future Dividends and Discount Factors, Review of Financial Studies, 1,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Campbell, J. and R. Shiller, Stock Prices, Earnings, and Expected Dividends, Journal of Finance, 43,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Dickson, Henry Chip, and Charles L. </a:t>
            </a:r>
            <a:r>
              <a:rPr lang="en-US" sz="1400" dirty="0" err="1"/>
              <a:t>Reinhard</a:t>
            </a:r>
            <a:r>
              <a:rPr lang="en-US" sz="1400" dirty="0"/>
              <a:t>, Dividend Yield Screens, </a:t>
            </a:r>
            <a:r>
              <a:rPr lang="en-US" sz="1400" dirty="0" smtClean="0"/>
              <a:t>Portfolio Strategy</a:t>
            </a:r>
            <a:r>
              <a:rPr lang="en-US" sz="1400" dirty="0"/>
              <a:t>, Lehman Brothers Equity Research, September 26, </a:t>
            </a:r>
            <a:r>
              <a:rPr lang="en-US" sz="1400" dirty="0" smtClean="0"/>
              <a:t>2005</a:t>
            </a:r>
            <a:endParaRPr lang="en-US" sz="1400" dirty="0"/>
          </a:p>
          <a:p>
            <a:pPr marL="190500" lvl="1" indent="-188913">
              <a:lnSpc>
                <a:spcPct val="80000"/>
              </a:lnSpc>
              <a:spcBef>
                <a:spcPct val="0"/>
              </a:spcBef>
              <a:spcAft>
                <a:spcPts val="600"/>
              </a:spcAft>
              <a:buFont typeface="Arial" charset="0"/>
              <a:buChar char="»"/>
            </a:pPr>
            <a:r>
              <a:rPr lang="en-US" sz="1400" dirty="0" err="1"/>
              <a:t>Dimson</a:t>
            </a:r>
            <a:r>
              <a:rPr lang="en-US" sz="1400" dirty="0"/>
              <a:t>, Elroy, Paul Marsh, and Mike Staunton, Triumph of the </a:t>
            </a:r>
            <a:r>
              <a:rPr lang="en-US" sz="1400" dirty="0" smtClean="0"/>
              <a:t>Optimists, Princeton </a:t>
            </a:r>
            <a:r>
              <a:rPr lang="en-US" sz="1400" dirty="0"/>
              <a:t>University Press, </a:t>
            </a:r>
            <a:r>
              <a:rPr lang="en-US" sz="1400" dirty="0" smtClean="0"/>
              <a:t>2002</a:t>
            </a:r>
          </a:p>
          <a:p>
            <a:pPr marL="190500" lvl="1" indent="-188913">
              <a:lnSpc>
                <a:spcPct val="80000"/>
              </a:lnSpc>
              <a:spcBef>
                <a:spcPct val="0"/>
              </a:spcBef>
              <a:spcAft>
                <a:spcPts val="600"/>
              </a:spcAft>
              <a:buFont typeface="Arial" charset="0"/>
              <a:buChar char="»"/>
            </a:pPr>
            <a:r>
              <a:rPr lang="en-US" sz="1400" dirty="0" smtClean="0"/>
              <a:t>Graham</a:t>
            </a:r>
            <a:r>
              <a:rPr lang="en-US" sz="1400" dirty="0"/>
              <a:t>, Benjamin, The Intelligent Investor, Fourth Revised Edition, </a:t>
            </a:r>
            <a:r>
              <a:rPr lang="en-US" sz="1400" dirty="0" smtClean="0"/>
              <a:t>Harper Business</a:t>
            </a:r>
            <a:r>
              <a:rPr lang="en-US" sz="1400" dirty="0"/>
              <a:t>, </a:t>
            </a:r>
            <a:r>
              <a:rPr lang="en-US" sz="1400" dirty="0" smtClean="0"/>
              <a:t>1973</a:t>
            </a:r>
            <a:endParaRPr lang="en-US" sz="1400" dirty="0"/>
          </a:p>
          <a:p>
            <a:pPr marL="190500" lvl="1" indent="-188913">
              <a:lnSpc>
                <a:spcPct val="80000"/>
              </a:lnSpc>
              <a:spcBef>
                <a:spcPct val="0"/>
              </a:spcBef>
              <a:spcAft>
                <a:spcPts val="600"/>
              </a:spcAft>
              <a:buFont typeface="Arial" charset="0"/>
              <a:buChar char="»"/>
            </a:pPr>
            <a:r>
              <a:rPr lang="en-US" sz="1400" dirty="0" err="1"/>
              <a:t>Keppler</a:t>
            </a:r>
            <a:r>
              <a:rPr lang="en-US" sz="1400" dirty="0"/>
              <a:t>, A. Michael, The Importance of Dividend Yields in Country </a:t>
            </a:r>
            <a:r>
              <a:rPr lang="en-US" sz="1400" dirty="0" smtClean="0"/>
              <a:t>Selection, Journal </a:t>
            </a:r>
            <a:r>
              <a:rPr lang="en-US" sz="1400" dirty="0"/>
              <a:t>of Portfolio Management, Winter, </a:t>
            </a:r>
            <a:r>
              <a:rPr lang="en-US" sz="1400" dirty="0" smtClean="0"/>
              <a:t>1991</a:t>
            </a:r>
            <a:endParaRPr lang="en-US" sz="1400" dirty="0"/>
          </a:p>
          <a:p>
            <a:pPr marL="190500" lvl="1" indent="-188913">
              <a:lnSpc>
                <a:spcPct val="80000"/>
              </a:lnSpc>
              <a:spcBef>
                <a:spcPct val="0"/>
              </a:spcBef>
              <a:spcAft>
                <a:spcPts val="600"/>
              </a:spcAft>
              <a:buFont typeface="Arial" charset="0"/>
              <a:buChar char="»"/>
            </a:pPr>
            <a:r>
              <a:rPr lang="en-US" sz="1400" dirty="0"/>
              <a:t>Levis, Mario, Stock Market Anomalies: A Reassessment Based on the UK </a:t>
            </a:r>
            <a:r>
              <a:rPr lang="en-US" sz="1400" dirty="0" smtClean="0"/>
              <a:t>Evidence, Journal </a:t>
            </a:r>
            <a:r>
              <a:rPr lang="en-US" sz="1400" dirty="0"/>
              <a:t>of Banking and Finance, 13, </a:t>
            </a:r>
            <a:r>
              <a:rPr lang="en-US" sz="1400" dirty="0" smtClean="0"/>
              <a:t>198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 of Personal Taxes </a:t>
            </a:r>
            <a:r>
              <a:rPr lang="en-US" sz="1400" dirty="0" smtClean="0"/>
              <a:t>and Dividends </a:t>
            </a:r>
            <a:r>
              <a:rPr lang="en-US" sz="1400" dirty="0"/>
              <a:t>on Capital Asset Prices, Journal of Financial Economics, </a:t>
            </a:r>
            <a:r>
              <a:rPr lang="en-US" sz="1400" dirty="0" smtClean="0"/>
              <a:t>197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s of </a:t>
            </a:r>
            <a:r>
              <a:rPr lang="en-US" sz="1400" dirty="0" smtClean="0"/>
              <a:t>Dividends on </a:t>
            </a:r>
            <a:r>
              <a:rPr lang="en-US" sz="1400" dirty="0"/>
              <a:t>Common Stock Prices Tax Effects or Information Effects?, The Journal </a:t>
            </a:r>
            <a:r>
              <a:rPr lang="en-US" sz="1400" dirty="0" smtClean="0"/>
              <a:t>Of Finance</a:t>
            </a:r>
            <a:r>
              <a:rPr lang="en-US" sz="1400" dirty="0"/>
              <a:t>, Vol. XXXVII, No. 2, May </a:t>
            </a:r>
            <a:r>
              <a:rPr lang="en-US" sz="1400" dirty="0" smtClean="0"/>
              <a:t>1982</a:t>
            </a:r>
            <a:endParaRPr lang="en-US" sz="1400" dirty="0"/>
          </a:p>
          <a:p>
            <a:pPr marL="190500" lvl="1" indent="-188913">
              <a:lnSpc>
                <a:spcPct val="80000"/>
              </a:lnSpc>
              <a:spcBef>
                <a:spcPct val="0"/>
              </a:spcBef>
              <a:spcAft>
                <a:spcPts val="600"/>
              </a:spcAft>
              <a:buFont typeface="Arial" charset="0"/>
              <a:buChar char="»"/>
            </a:pPr>
            <a:r>
              <a:rPr lang="en-US" sz="1400" dirty="0"/>
              <a:t>O’Higgins, Michael B. and John </a:t>
            </a:r>
            <a:r>
              <a:rPr lang="en-US" sz="1400" dirty="0" err="1"/>
              <a:t>Downes</a:t>
            </a:r>
            <a:r>
              <a:rPr lang="en-US" sz="1400" dirty="0"/>
              <a:t>, Beating the Dow, HarperCollins </a:t>
            </a:r>
            <a:r>
              <a:rPr lang="en-US" sz="1400" dirty="0" smtClean="0"/>
              <a:t>2000</a:t>
            </a:r>
            <a:endParaRPr lang="en-US" sz="1400" dirty="0"/>
          </a:p>
          <a:p>
            <a:pPr marL="190500" lvl="1" indent="-188913" algn="l">
              <a:lnSpc>
                <a:spcPct val="80000"/>
              </a:lnSpc>
              <a:spcBef>
                <a:spcPct val="0"/>
              </a:spcBef>
              <a:spcAft>
                <a:spcPts val="600"/>
              </a:spcAft>
              <a:buFont typeface="Arial" charset="0"/>
              <a:buChar char="»"/>
            </a:pPr>
            <a:endParaRPr lang="en-US" sz="1400" b="0" dirty="0"/>
          </a:p>
          <a:p>
            <a:pPr marL="190500" lvl="1" indent="-188913" algn="l">
              <a:lnSpc>
                <a:spcPct val="80000"/>
              </a:lnSpc>
              <a:spcBef>
                <a:spcPct val="0"/>
              </a:spcBef>
              <a:spcAft>
                <a:spcPts val="600"/>
              </a:spcAft>
              <a:buFont typeface="Arial" charset="0"/>
              <a:buChar char="»"/>
            </a:pPr>
            <a:endParaRPr lang="en-US" sz="1400" b="0" dirty="0"/>
          </a:p>
        </p:txBody>
      </p:sp>
    </p:spTree>
    <p:extLst>
      <p:ext uri="{BB962C8B-B14F-4D97-AF65-F5344CB8AC3E}">
        <p14:creationId xmlns:p14="http://schemas.microsoft.com/office/powerpoint/2010/main" val="142596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 </a:t>
            </a:r>
            <a:r>
              <a:rPr lang="en-US" sz="1600" dirty="0">
                <a:solidFill>
                  <a:prstClr val="black"/>
                </a:solidFill>
              </a:rPr>
              <a:t>today’s </a:t>
            </a:r>
            <a:r>
              <a:rPr lang="en-US" sz="1600" b="1" dirty="0">
                <a:solidFill>
                  <a:prstClr val="black"/>
                </a:solidFill>
              </a:rPr>
              <a:t>low yield </a:t>
            </a:r>
            <a:r>
              <a:rPr lang="en-US" sz="1600" b="1" dirty="0" smtClean="0">
                <a:solidFill>
                  <a:prstClr val="black"/>
                </a:solidFill>
              </a:rPr>
              <a:t>environment </a:t>
            </a:r>
            <a:r>
              <a:rPr lang="en-US" sz="1600" dirty="0">
                <a:solidFill>
                  <a:prstClr val="black"/>
                </a:solidFill>
              </a:rPr>
              <a:t>investor preferences </a:t>
            </a:r>
            <a:r>
              <a:rPr lang="en-US" sz="1600" dirty="0" smtClean="0">
                <a:solidFill>
                  <a:prstClr val="black"/>
                </a:solidFill>
              </a:rPr>
              <a:t>are strongly </a:t>
            </a:r>
            <a:r>
              <a:rPr lang="en-US" sz="1600" dirty="0">
                <a:solidFill>
                  <a:prstClr val="black"/>
                </a:solidFill>
              </a:rPr>
              <a:t>tilt toward high dividend stocks which can boost </a:t>
            </a:r>
            <a:r>
              <a:rPr lang="en-US" sz="1600" dirty="0" smtClean="0">
                <a:solidFill>
                  <a:prstClr val="black"/>
                </a:solidFill>
              </a:rPr>
              <a:t>stock prices</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STOXX </a:t>
            </a:r>
            <a:r>
              <a:rPr lang="en-US" sz="1600" dirty="0"/>
              <a:t>ensures that component </a:t>
            </a:r>
            <a:r>
              <a:rPr lang="en-US" sz="1600" b="1" dirty="0"/>
              <a:t>selection and weighting </a:t>
            </a:r>
            <a:r>
              <a:rPr lang="en-US" sz="1600" dirty="0"/>
              <a:t>for Select Dividend Indices is </a:t>
            </a:r>
            <a:r>
              <a:rPr lang="en-US" sz="1600" dirty="0" smtClean="0"/>
              <a:t>based </a:t>
            </a:r>
            <a:r>
              <a:rPr lang="en-US" sz="1600" dirty="0"/>
              <a:t>on </a:t>
            </a:r>
            <a:r>
              <a:rPr lang="en-US" sz="1600" dirty="0" smtClean="0"/>
              <a:t>net </a:t>
            </a:r>
            <a:r>
              <a:rPr lang="en-US" sz="1600" dirty="0"/>
              <a:t>dividend </a:t>
            </a:r>
            <a:r>
              <a:rPr lang="en-US" sz="1600" dirty="0" smtClean="0"/>
              <a:t>yield relative to home market</a:t>
            </a:r>
            <a:endParaRPr lang="en-US" sz="1600" dirty="0" smtClean="0">
              <a:solidFill>
                <a:srgbClr val="000000"/>
              </a:solidFill>
            </a:endParaRP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r>
              <a:rPr lang="en-US" dirty="0" smtClean="0"/>
              <a:t>List of selected references are provided at the end of this presentation</a:t>
            </a:r>
            <a:endParaRPr lang="en-US" dirty="0"/>
          </a:p>
        </p:txBody>
      </p:sp>
      <p:sp>
        <p:nvSpPr>
          <p:cNvPr id="15" name="Rectangle 3"/>
          <p:cNvSpPr>
            <a:spLocks noChangeArrowheads="1"/>
          </p:cNvSpPr>
          <p:nvPr/>
        </p:nvSpPr>
        <p:spPr bwMode="auto">
          <a:xfrm>
            <a:off x="368300" y="3236317"/>
            <a:ext cx="4357688"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Extensive research supports that </a:t>
            </a:r>
            <a:r>
              <a:rPr lang="en-US" sz="1600" dirty="0"/>
              <a:t>companies that </a:t>
            </a:r>
            <a:r>
              <a:rPr lang="en-US" sz="1600" b="1" dirty="0"/>
              <a:t>continuously pay dividends</a:t>
            </a:r>
            <a:r>
              <a:rPr lang="en-US" sz="1600" dirty="0"/>
              <a:t> during good times also do so during bear </a:t>
            </a:r>
            <a:r>
              <a:rPr lang="en-US" sz="1600" dirty="0" smtClean="0"/>
              <a:t>markets and tend to generate above market </a:t>
            </a:r>
            <a:r>
              <a:rPr lang="en-US" sz="1600" dirty="0">
                <a:solidFill>
                  <a:prstClr val="black"/>
                </a:solidFill>
              </a:rPr>
              <a:t>risk-adjusted </a:t>
            </a:r>
            <a:r>
              <a:rPr lang="en-US" sz="1600" dirty="0" smtClean="0">
                <a:solidFill>
                  <a:prstClr val="black"/>
                </a:solidFill>
              </a:rPr>
              <a:t>returns</a:t>
            </a:r>
            <a:r>
              <a:rPr lang="en-US" sz="1600" baseline="30000" dirty="0" smtClean="0">
                <a:solidFill>
                  <a:prstClr val="black"/>
                </a:solidFill>
              </a:rPr>
              <a:t>1</a:t>
            </a:r>
            <a:endParaRPr lang="en-US" sz="1600" dirty="0"/>
          </a:p>
        </p:txBody>
      </p:sp>
      <p:sp>
        <p:nvSpPr>
          <p:cNvPr id="17" name="Rectangle 5"/>
          <p:cNvSpPr>
            <a:spLocks noChangeArrowheads="1"/>
          </p:cNvSpPr>
          <p:nvPr/>
        </p:nvSpPr>
        <p:spPr bwMode="auto">
          <a:xfrm>
            <a:off x="5167313" y="3419017"/>
            <a:ext cx="4359275"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Focus on </a:t>
            </a:r>
            <a:r>
              <a:rPr lang="en-US" sz="1600" b="1" dirty="0">
                <a:solidFill>
                  <a:srgbClr val="000000"/>
                </a:solidFill>
              </a:rPr>
              <a:t>consistent</a:t>
            </a:r>
            <a:r>
              <a:rPr lang="en-US" sz="1600" dirty="0">
                <a:solidFill>
                  <a:srgbClr val="000000"/>
                </a:solidFill>
              </a:rPr>
              <a:t> and long track record of dividend </a:t>
            </a:r>
            <a:r>
              <a:rPr lang="en-US" sz="1600" dirty="0" smtClean="0">
                <a:solidFill>
                  <a:srgbClr val="000000"/>
                </a:solidFill>
              </a:rPr>
              <a:t>payments</a:t>
            </a:r>
            <a:endParaRPr lang="en-US" sz="1600" dirty="0">
              <a:solidFill>
                <a:srgbClr val="000000"/>
              </a:solidFill>
            </a:endParaRPr>
          </a:p>
        </p:txBody>
      </p:sp>
      <p:sp>
        <p:nvSpPr>
          <p:cNvPr id="19" name="Rectangle 5"/>
          <p:cNvSpPr>
            <a:spLocks noChangeArrowheads="1"/>
          </p:cNvSpPr>
          <p:nvPr/>
        </p:nvSpPr>
        <p:spPr bwMode="auto">
          <a:xfrm>
            <a:off x="5167313" y="4206880"/>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b="1" dirty="0">
                <a:solidFill>
                  <a:srgbClr val="000000"/>
                </a:solidFill>
              </a:rPr>
              <a:t>Tradability and diversification </a:t>
            </a:r>
            <a:r>
              <a:rPr lang="en-US" sz="1600" dirty="0">
                <a:solidFill>
                  <a:srgbClr val="000000"/>
                </a:solidFill>
              </a:rPr>
              <a:t>achieved through liquidity filters and maximum weight capping</a:t>
            </a:r>
          </a:p>
        </p:txBody>
      </p:sp>
      <p:sp>
        <p:nvSpPr>
          <p:cNvPr id="25" name="Rectangle 3"/>
          <p:cNvSpPr>
            <a:spLocks noChangeArrowheads="1"/>
          </p:cNvSpPr>
          <p:nvPr/>
        </p:nvSpPr>
        <p:spPr bwMode="auto">
          <a:xfrm>
            <a:off x="368300" y="4695071"/>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prstClr val="black"/>
                </a:solidFill>
              </a:rPr>
              <a:t>Very high dividends can indicate that companies lack profitable reinvestment ideas/opportunities</a:t>
            </a:r>
            <a:endParaRPr lang="en-US" sz="1600" dirty="0"/>
          </a:p>
        </p:txBody>
      </p:sp>
      <p:sp>
        <p:nvSpPr>
          <p:cNvPr id="26" name="Rectangle 5"/>
          <p:cNvSpPr>
            <a:spLocks noChangeArrowheads="1"/>
          </p:cNvSpPr>
          <p:nvPr/>
        </p:nvSpPr>
        <p:spPr bwMode="auto">
          <a:xfrm>
            <a:off x="5167312" y="5162892"/>
            <a:ext cx="4359275" cy="23391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Avoid companies with excessive payout ratios </a:t>
            </a:r>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2008233"/>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based on </a:t>
            </a:r>
          </a:p>
          <a:p>
            <a:pPr marL="1587" lvl="1">
              <a:lnSpc>
                <a:spcPct val="95000"/>
              </a:lnSpc>
              <a:spcBef>
                <a:spcPct val="0"/>
              </a:spcBef>
            </a:pPr>
            <a:r>
              <a:rPr lang="en-US" sz="1600" dirty="0" smtClean="0"/>
              <a:t>Annual net dividend yield.</a:t>
            </a:r>
          </a:p>
          <a:p>
            <a:pPr marL="1587" lvl="1">
              <a:lnSpc>
                <a:spcPct val="95000"/>
              </a:lnSpc>
              <a:spcBef>
                <a:spcPct val="0"/>
              </a:spcBef>
            </a:pPr>
            <a:r>
              <a:rPr lang="en-US" sz="1600" dirty="0" smtClean="0"/>
              <a:t>Capping at 10% applied </a:t>
            </a:r>
          </a:p>
          <a:p>
            <a:pPr marL="1587" lvl="1">
              <a:lnSpc>
                <a:spcPct val="95000"/>
              </a:lnSpc>
              <a:spcBef>
                <a:spcPct val="0"/>
              </a:spcBef>
            </a:pPr>
            <a:r>
              <a:rPr lang="en-US" sz="1600" dirty="0" smtClean="0"/>
              <a:t>quarterly</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a:t>
            </a:r>
          </a:p>
          <a:p>
            <a:pPr marL="1587" lvl="1">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smtClean="0"/>
              <a:t>Only the higher dividend</a:t>
            </a:r>
          </a:p>
          <a:p>
            <a:pPr marL="1587" lvl="1">
              <a:lnSpc>
                <a:spcPct val="95000"/>
              </a:lnSpc>
              <a:spcBef>
                <a:spcPct val="0"/>
              </a:spcBef>
            </a:pPr>
            <a:r>
              <a:rPr lang="en-US" sz="1600" dirty="0"/>
              <a:t>y</a:t>
            </a:r>
            <a:r>
              <a:rPr lang="en-US" sz="1600" dirty="0" smtClean="0"/>
              <a:t>ielding share line is chosen</a:t>
            </a:r>
            <a:endParaRPr lang="en-US" sz="1600" dirty="0"/>
          </a:p>
          <a:p>
            <a:pPr marL="1587" lvl="1">
              <a:lnSpc>
                <a:spcPct val="95000"/>
              </a:lnSpc>
              <a:spcBef>
                <a:spcPct val="0"/>
              </a:spcBef>
            </a:pPr>
            <a:r>
              <a:rPr lang="en-US" sz="1600" dirty="0"/>
              <a:t>f</a:t>
            </a:r>
            <a:r>
              <a:rPr lang="en-US" sz="1600" dirty="0" smtClean="0"/>
              <a:t>or a company</a:t>
            </a:r>
            <a:endParaRPr lang="en-US" sz="1600" dirty="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r>
              <a:rPr lang="de-CH" dirty="0" smtClean="0"/>
              <a:t>: STOXX Global Select Dividend Index </a:t>
            </a:r>
            <a:r>
              <a:rPr lang="de-CH" dirty="0" err="1" smtClean="0"/>
              <a:t>combines</a:t>
            </a:r>
            <a:r>
              <a:rPr lang="de-CH" dirty="0" smtClean="0"/>
              <a:t> </a:t>
            </a:r>
            <a:r>
              <a:rPr lang="de-CH" dirty="0" err="1" smtClean="0"/>
              <a:t>the</a:t>
            </a:r>
            <a:r>
              <a:rPr lang="de-CH" dirty="0" smtClean="0"/>
              <a:t> </a:t>
            </a:r>
            <a:r>
              <a:rPr lang="de-CH" dirty="0" err="1" smtClean="0"/>
              <a:t>three</a:t>
            </a:r>
            <a:r>
              <a:rPr lang="de-CH" dirty="0" smtClean="0"/>
              <a:t> regional STOXX Select Dividend </a:t>
            </a:r>
            <a:r>
              <a:rPr lang="de-CH" dirty="0" err="1" smtClean="0"/>
              <a:t>indices</a:t>
            </a:r>
            <a:r>
              <a:rPr lang="de-CH" dirty="0" smtClean="0"/>
              <a:t> </a:t>
            </a:r>
            <a:r>
              <a:rPr lang="de-CH" dirty="0" err="1" smtClean="0"/>
              <a:t>for</a:t>
            </a:r>
            <a:r>
              <a:rPr lang="de-CH" dirty="0" smtClean="0"/>
              <a:t> </a:t>
            </a:r>
            <a:r>
              <a:rPr lang="de-CH" dirty="0" err="1" smtClean="0"/>
              <a:t>the</a:t>
            </a:r>
            <a:r>
              <a:rPr lang="de-CH" dirty="0" smtClean="0"/>
              <a:t> </a:t>
            </a:r>
            <a:r>
              <a:rPr lang="de-CH" dirty="0" err="1" smtClean="0"/>
              <a:t>regions</a:t>
            </a:r>
            <a:r>
              <a:rPr lang="de-CH" dirty="0" smtClean="0"/>
              <a:t> North </a:t>
            </a:r>
            <a:r>
              <a:rPr lang="de-CH" dirty="0" err="1" smtClean="0"/>
              <a:t>America</a:t>
            </a:r>
            <a:r>
              <a:rPr lang="de-CH" dirty="0" smtClean="0"/>
              <a:t>, Europe and </a:t>
            </a:r>
            <a:r>
              <a:rPr lang="de-CH" dirty="0" err="1" smtClean="0"/>
              <a:t>Asia</a:t>
            </a:r>
            <a:r>
              <a:rPr lang="de-CH" dirty="0" smtClean="0"/>
              <a:t>/Pacific</a:t>
            </a:r>
            <a:endParaRPr lang="en-US" dirty="0" smtClean="0"/>
          </a:p>
        </p:txBody>
      </p:sp>
      <p:sp>
        <p:nvSpPr>
          <p:cNvPr id="21" name="Rectangle 10"/>
          <p:cNvSpPr>
            <a:spLocks noChangeArrowheads="1"/>
          </p:cNvSpPr>
          <p:nvPr/>
        </p:nvSpPr>
        <p:spPr bwMode="auto">
          <a:xfrm>
            <a:off x="1897070" y="5209380"/>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492591"/>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333355"/>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775801"/>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5" y="2538026"/>
            <a:ext cx="3756009" cy="2105192"/>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Companies that announced dividends payments</a:t>
            </a:r>
          </a:p>
          <a:p>
            <a:pPr marL="196850" lvl="1" indent="-195263" defTabSz="736600">
              <a:lnSpc>
                <a:spcPct val="95000"/>
              </a:lnSpc>
              <a:spcBef>
                <a:spcPct val="0"/>
              </a:spcBef>
              <a:buFont typeface="Arial" charset="0"/>
              <a:buChar char="»"/>
            </a:pPr>
            <a:r>
              <a:rPr lang="en-US" sz="1600" dirty="0" smtClean="0"/>
              <a:t>Have a non-negative dividend growth rate over the past 5 years</a:t>
            </a:r>
          </a:p>
          <a:p>
            <a:pPr marL="196850" lvl="1" indent="-195263" defTabSz="736600">
              <a:lnSpc>
                <a:spcPct val="95000"/>
              </a:lnSpc>
              <a:spcBef>
                <a:spcPct val="0"/>
              </a:spcBef>
              <a:buFont typeface="Arial" charset="0"/>
              <a:buChar char="»"/>
            </a:pPr>
            <a:r>
              <a:rPr lang="en-US" sz="1600" dirty="0" smtClean="0"/>
              <a:t>Dividend payment in 4 out of last 5 calendar years</a:t>
            </a:r>
          </a:p>
          <a:p>
            <a:pPr marL="196850" lvl="1" indent="-195263" defTabSz="736600">
              <a:lnSpc>
                <a:spcPct val="95000"/>
              </a:lnSpc>
              <a:spcBef>
                <a:spcPct val="0"/>
              </a:spcBef>
              <a:buFont typeface="Arial" charset="0"/>
              <a:buChar char="»"/>
            </a:pPr>
            <a:r>
              <a:rPr lang="en-US" sz="1600" dirty="0" smtClean="0"/>
              <a:t>Non-negative payout </a:t>
            </a:r>
            <a:r>
              <a:rPr lang="en-US" sz="1600" dirty="0"/>
              <a:t>ratio </a:t>
            </a:r>
            <a:r>
              <a:rPr lang="en-US" sz="1600" dirty="0" smtClean="0"/>
              <a:t>maximum threshold</a:t>
            </a:r>
            <a:r>
              <a:rPr lang="en-US" sz="1600" baseline="30000" dirty="0">
                <a:solidFill>
                  <a:prstClr val="black"/>
                </a:solidFill>
              </a:rPr>
              <a:t>1</a:t>
            </a:r>
            <a:r>
              <a:rPr lang="en-US" sz="1600" dirty="0" smtClean="0"/>
              <a:t> applies</a:t>
            </a:r>
          </a:p>
          <a:p>
            <a:pPr marL="196850" lvl="1" indent="-195263" defTabSz="736600">
              <a:lnSpc>
                <a:spcPct val="95000"/>
              </a:lnSpc>
              <a:spcBef>
                <a:spcPct val="0"/>
              </a:spcBef>
              <a:buFont typeface="Arial" charset="0"/>
              <a:buChar char="»"/>
            </a:pPr>
            <a:r>
              <a:rPr lang="en-US" sz="1600" dirty="0" smtClean="0"/>
              <a:t>Minimum liquidity level</a:t>
            </a:r>
          </a:p>
        </p:txBody>
      </p:sp>
      <p:sp>
        <p:nvSpPr>
          <p:cNvPr id="32" name="Rectangle 6"/>
          <p:cNvSpPr>
            <a:spLocks noChangeArrowheads="1"/>
          </p:cNvSpPr>
          <p:nvPr/>
        </p:nvSpPr>
        <p:spPr bwMode="auto">
          <a:xfrm>
            <a:off x="3111516" y="1975414"/>
            <a:ext cx="3657600" cy="46782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Regional benchmark index + secondary lines</a:t>
            </a:r>
            <a:endParaRPr lang="en-US" sz="1600" b="0" dirty="0"/>
          </a:p>
        </p:txBody>
      </p:sp>
      <p:sp>
        <p:nvSpPr>
          <p:cNvPr id="19" name="Flowchart: Merge 18"/>
          <p:cNvSpPr/>
          <p:nvPr/>
        </p:nvSpPr>
        <p:spPr bwMode="auto">
          <a:xfrm>
            <a:off x="295275" y="2008233"/>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2092369"/>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370675"/>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4746719"/>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4746719"/>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Highest-yielding</a:t>
            </a:r>
            <a:r>
              <a:rPr lang="en-US" sz="1600" baseline="30000" dirty="0" smtClean="0">
                <a:solidFill>
                  <a:prstClr val="black"/>
                </a:solidFill>
              </a:rPr>
              <a:t>2</a:t>
            </a:r>
            <a:r>
              <a:rPr lang="en-US" sz="1600" dirty="0" smtClean="0"/>
              <a:t> </a:t>
            </a:r>
            <a:r>
              <a:rPr lang="en-US" sz="1600" dirty="0"/>
              <a:t>companies relative to their home market. Current components </a:t>
            </a:r>
            <a:r>
              <a:rPr lang="en-US" sz="1600" dirty="0" smtClean="0"/>
              <a:t>ranked from </a:t>
            </a:r>
            <a:r>
              <a:rPr lang="en-US" sz="1600" dirty="0"/>
              <a:t>1 to 60 </a:t>
            </a:r>
            <a:r>
              <a:rPr lang="en-US" sz="1600" dirty="0" smtClean="0"/>
              <a:t>remain in </a:t>
            </a:r>
            <a:r>
              <a:rPr lang="en-US" sz="1600" dirty="0"/>
              <a:t>the index</a:t>
            </a:r>
            <a:endParaRPr lang="en-US" sz="1600" b="0" dirty="0"/>
          </a:p>
        </p:txBody>
      </p:sp>
      <p:sp>
        <p:nvSpPr>
          <p:cNvPr id="17" name="Text Placeholder 1"/>
          <p:cNvSpPr>
            <a:spLocks noGrp="1"/>
          </p:cNvSpPr>
          <p:nvPr>
            <p:ph type="body" sz="quarter" idx="12"/>
          </p:nvPr>
        </p:nvSpPr>
        <p:spPr>
          <a:xfrm>
            <a:off x="1704043" y="6444503"/>
            <a:ext cx="7410620" cy="339756"/>
          </a:xfrm>
        </p:spPr>
        <p:txBody>
          <a:bodyPr/>
          <a:lstStyle/>
          <a:p>
            <a:r>
              <a:rPr lang="en-US" dirty="0" smtClean="0"/>
              <a:t>60% for Europe index; 80</a:t>
            </a:r>
            <a:r>
              <a:rPr lang="en-US" dirty="0"/>
              <a:t>% for </a:t>
            </a:r>
            <a:r>
              <a:rPr lang="en-US" dirty="0" smtClean="0"/>
              <a:t>Asia/Pacific and North America indices</a:t>
            </a:r>
          </a:p>
          <a:p>
            <a:r>
              <a:rPr lang="en-US" dirty="0"/>
              <a:t>30 stocks selected for the Asia/Pacific and Europe indices; 40 stock selected for the North America index</a:t>
            </a:r>
          </a:p>
          <a:p>
            <a:endParaRPr lang="en-US"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sp>
        <p:nvSpPr>
          <p:cNvPr id="85" name="Rectangle 2"/>
          <p:cNvSpPr>
            <a:spLocks noChangeArrowheads="1"/>
          </p:cNvSpPr>
          <p:nvPr/>
        </p:nvSpPr>
        <p:spPr bwMode="auto">
          <a:xfrm>
            <a:off x="365919"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Index</a:t>
            </a:r>
            <a:r>
              <a:rPr lang="en-US" sz="1600" baseline="30000" dirty="0" smtClean="0">
                <a:solidFill>
                  <a:prstClr val="white"/>
                </a:solidFill>
              </a:rPr>
              <a:t>1)</a:t>
            </a:r>
            <a:endParaRPr lang="en-US" sz="1600" b="1" dirty="0">
              <a:solidFill>
                <a:prstClr val="white"/>
              </a:solidFill>
            </a:endParaRPr>
          </a:p>
        </p:txBody>
      </p:sp>
      <p:sp>
        <p:nvSpPr>
          <p:cNvPr id="86" name="Rectangle 2"/>
          <p:cNvSpPr>
            <a:spLocks noChangeArrowheads="1"/>
          </p:cNvSpPr>
          <p:nvPr/>
        </p:nvSpPr>
        <p:spPr bwMode="auto">
          <a:xfrm>
            <a:off x="5157312" y="1837944"/>
            <a:ext cx="436244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Risk and return characteristics</a:t>
            </a:r>
            <a:r>
              <a:rPr lang="en-US" sz="1600" baseline="30000" dirty="0" smtClean="0">
                <a:solidFill>
                  <a:prstClr val="white"/>
                </a:solidFill>
              </a:rPr>
              <a:t>1)</a:t>
            </a:r>
            <a:endParaRPr lang="en-US" sz="1600" baseline="30000" dirty="0">
              <a:solidFill>
                <a:prstClr val="white"/>
              </a:solidFill>
            </a:endParaRPr>
          </a:p>
        </p:txBody>
      </p:sp>
      <p:sp>
        <p:nvSpPr>
          <p:cNvPr id="36" name="Text Box 150"/>
          <p:cNvSpPr txBox="1">
            <a:spLocks noChangeArrowheads="1"/>
          </p:cNvSpPr>
          <p:nvPr/>
        </p:nvSpPr>
        <p:spPr bwMode="auto">
          <a:xfrm>
            <a:off x="1657985" y="6334125"/>
            <a:ext cx="7680960" cy="307777"/>
          </a:xfrm>
          <a:prstGeom prst="rect">
            <a:avLst/>
          </a:prstGeom>
          <a:noFill/>
          <a:ln w="9525">
            <a:noFill/>
            <a:miter lim="800000"/>
            <a:headEnd/>
            <a:tailEnd/>
          </a:ln>
        </p:spPr>
        <p:txBody>
          <a:bodyPr lIns="0" tIns="0" rIns="0" bIns="0" anchor="t" anchorCtr="0">
            <a:spAutoFit/>
          </a:bodyPr>
          <a:lstStyle/>
          <a:p>
            <a:r>
              <a:rPr lang="en-US" sz="1000" dirty="0">
                <a:solidFill>
                  <a:srgbClr val="AFAFAF"/>
                </a:solidFill>
              </a:rPr>
              <a:t>1) STOXX data as of Feb. 29, 2016. Annualized returns and annualized volatility (standard deviation) figures are used
2) </a:t>
            </a:r>
            <a:r>
              <a:rPr lang="en-US" sz="1000" dirty="0" smtClean="0">
                <a:solidFill>
                  <a:srgbClr val="AFAFAF"/>
                </a:solidFill>
              </a:rPr>
              <a:t>EONIA used </a:t>
            </a:r>
            <a:r>
              <a:rPr lang="en-US" sz="1000" dirty="0">
                <a:solidFill>
                  <a:srgbClr val="AFAFAF"/>
                </a:solidFill>
              </a:rPr>
              <a:t>as riskless asset to calculate Sharpe </a:t>
            </a:r>
            <a:r>
              <a:rPr lang="en-US" sz="1000" dirty="0" smtClean="0">
                <a:solidFill>
                  <a:srgbClr val="AFAFAF"/>
                </a:solidFill>
              </a:rPr>
              <a:t>ratio</a:t>
            </a:r>
            <a:endParaRPr lang="en-US" sz="1000" dirty="0">
              <a:solidFill>
                <a:srgbClr val="AFAFAF"/>
              </a:solidFill>
            </a:endParaRPr>
          </a:p>
        </p:txBody>
      </p:sp>
      <p:sp>
        <p:nvSpPr>
          <p:cNvPr id="14"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dirty="0">
                <a:solidFill>
                  <a:prstClr val="black"/>
                </a:solidFill>
              </a:rPr>
              <a:t>STOXX® Global Select Dividend 100 
(USD N</a:t>
            </a:r>
            <a:r>
              <a:rPr lang="en-US" sz="1000" dirty="0" smtClean="0">
                <a:solidFill>
                  <a:prstClr val="black"/>
                </a:solidFill>
              </a:rPr>
              <a:t>et Return</a:t>
            </a:r>
            <a:r>
              <a:rPr lang="en-US" sz="1000" dirty="0">
                <a:solidFill>
                  <a:prstClr val="black"/>
                </a:solidFill>
              </a:rPr>
              <a:t>) </a:t>
            </a:r>
          </a:p>
        </p:txBody>
      </p:sp>
      <p:sp>
        <p:nvSpPr>
          <p:cNvPr id="13" name="TextBox 12"/>
          <p:cNvSpPr txBox="1"/>
          <p:nvPr/>
        </p:nvSpPr>
        <p:spPr>
          <a:xfrm>
            <a:off x="1137285" y="1863070"/>
            <a:ext cx="3368040" cy="246221"/>
          </a:xfrm>
          <a:prstGeom prst="rect">
            <a:avLst/>
          </a:prstGeom>
          <a:noFill/>
        </p:spPr>
        <p:txBody>
          <a:bodyPr wrap="square" lIns="0" tIns="0" rIns="0" bIns="0" rtlCol="0">
            <a:spAutoFit/>
          </a:bodyPr>
          <a:lstStyle/>
          <a:p>
            <a:r>
              <a:rPr lang="en-US" sz="1600" b="1" dirty="0" smtClean="0">
                <a:solidFill>
                  <a:srgbClr val="FFFFFF"/>
                </a:solidFill>
              </a:rPr>
              <a:t>5y</a:t>
            </a:r>
            <a:endParaRPr lang="en-US" sz="1600" b="1" dirty="0">
              <a:solidFill>
                <a:srgbClr val="FFFFFF"/>
              </a:solidFill>
            </a:endParaRPr>
          </a:p>
        </p:txBody>
      </p:sp>
      <p:graphicFrame>
        <p:nvGraphicFramePr>
          <p:cNvPr id="15" name="Group 62"/>
          <p:cNvGraphicFramePr>
            <a:graphicFrameLocks noGrp="1"/>
          </p:cNvGraphicFramePr>
          <p:nvPr>
            <p:custDataLst>
              <p:tags r:id="rId1"/>
            </p:custDataLst>
            <p:extLst>
              <p:ext uri="{D42A27DB-BD31-4B8C-83A1-F6EECF244321}">
                <p14:modId xmlns:p14="http://schemas.microsoft.com/office/powerpoint/2010/main" val="603324070"/>
              </p:ext>
            </p:extLst>
          </p:nvPr>
        </p:nvGraphicFramePr>
        <p:xfrm>
          <a:off x="5162551" y="2254398"/>
          <a:ext cx="4370831" cy="3092377"/>
        </p:xfrm>
        <a:graphic>
          <a:graphicData uri="http://schemas.openxmlformats.org/drawingml/2006/table">
            <a:tbl>
              <a:tblPr>
                <a:tableStyleId>{616DA210-FB5B-4158-B5E0-FEB733F419BA}</a:tableStyleId>
              </a:tblPr>
              <a:tblGrid>
                <a:gridCol w="1548003"/>
                <a:gridCol w="1411414"/>
                <a:gridCol w="1411414"/>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STOXX® Global Select Dividend 10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a:solidFill>
                            <a:srgbClr val="000000"/>
                          </a:solidFill>
                        </a:rPr>
                        <a:t>-</a:t>
                      </a:r>
                      <a:r>
                        <a:rPr lang="en-US" sz="1000" dirty="0" smtClean="0">
                          <a:solidFill>
                            <a:srgbClr val="000000"/>
                          </a:solidFill>
                        </a:rPr>
                        <a:t>11.6%</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a:solidFill>
                            <a:srgbClr val="000000"/>
                          </a:solidFill>
                        </a:rPr>
                        <a:t>-</a:t>
                      </a:r>
                      <a:r>
                        <a:rPr lang="en-US" sz="1000" dirty="0" smtClean="0">
                          <a:solidFill>
                            <a:srgbClr val="000000"/>
                          </a:solidFill>
                        </a:rPr>
                        <a:t>34.6%</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a:solidFill>
                            <a:srgbClr val="000000"/>
                          </a:solidFill>
                        </a:rPr>
                        <a:t>-</a:t>
                      </a:r>
                      <a:r>
                        <a:rPr lang="en-US" sz="1000" dirty="0" smtClean="0">
                          <a:solidFill>
                            <a:srgbClr val="000000"/>
                          </a:solidFill>
                        </a:rPr>
                        <a:t>9.6%</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a:solidFill>
                            <a:srgbClr val="000000"/>
                          </a:solidFill>
                        </a:rPr>
                        <a:t>-</a:t>
                      </a:r>
                      <a:r>
                        <a:rPr lang="en-US" sz="1000" dirty="0" smtClean="0">
                          <a:solidFill>
                            <a:srgbClr val="000000"/>
                          </a:solidFill>
                        </a:rPr>
                        <a:t>10.7%</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2.6%</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5.3%</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dirty="0" smtClean="0">
                          <a:solidFill>
                            <a:srgbClr val="000000"/>
                          </a:solidFill>
                        </a:rPr>
                        <a:t>3.9%</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dirty="0" smtClean="0">
                          <a:solidFill>
                            <a:srgbClr val="000000"/>
                          </a:solidFill>
                        </a:rPr>
                        <a:t>4.8%</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dirty="0" smtClean="0">
                          <a:solidFill>
                            <a:srgbClr val="000000"/>
                          </a:solidFill>
                        </a:rPr>
                        <a:t>12.9%</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dirty="0">
                          <a:solidFill>
                            <a:srgbClr val="000000"/>
                          </a:solidFill>
                        </a:rPr>
                        <a:t>14.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1.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12.0%</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4.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0.32</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0.52</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5y Maximum drawdown</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19.6%</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smtClean="0">
                          <a:solidFill>
                            <a:srgbClr val="000000"/>
                          </a:solidFill>
                        </a:rPr>
                        <a:t>22.0%</a:t>
                      </a:r>
                      <a:endParaRPr lang="en-US" sz="1000" dirty="0">
                        <a:solidFill>
                          <a:srgbClr val="000000"/>
                        </a:solidFill>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Rectangle 6"/>
          <p:cNvSpPr>
            <a:spLocks noChangeArrowheads="1"/>
          </p:cNvSpPr>
          <p:nvPr/>
        </p:nvSpPr>
        <p:spPr bwMode="auto">
          <a:xfrm>
            <a:off x="7694284" y="5868772"/>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dirty="0">
                <a:solidFill>
                  <a:prstClr val="black"/>
                </a:solidFill>
              </a:rPr>
              <a:t>STOXX® Global 1800 
(USD </a:t>
            </a:r>
            <a:r>
              <a:rPr lang="en-US" sz="1000" dirty="0" smtClean="0">
                <a:solidFill>
                  <a:prstClr val="black"/>
                </a:solidFill>
              </a:rPr>
              <a:t>Net Return</a:t>
            </a:r>
            <a:r>
              <a:rPr lang="en-US" sz="1000" dirty="0">
                <a:solidFill>
                  <a:prstClr val="black"/>
                </a:solidFill>
              </a:rPr>
              <a:t>) </a:t>
            </a:r>
          </a:p>
        </p:txBody>
      </p:sp>
      <p:graphicFrame>
        <p:nvGraphicFramePr>
          <p:cNvPr id="11" name="Object 9"/>
          <p:cNvGraphicFramePr>
            <a:graphicFrameLocks/>
          </p:cNvGraphicFramePr>
          <p:nvPr>
            <p:extLst>
              <p:ext uri="{D42A27DB-BD31-4B8C-83A1-F6EECF244321}">
                <p14:modId xmlns:p14="http://schemas.microsoft.com/office/powerpoint/2010/main" val="2947775274"/>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010553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11" name="Rectangle 2"/>
          <p:cNvSpPr>
            <a:spLocks noChangeArrowheads="1"/>
          </p:cNvSpPr>
          <p:nvPr/>
        </p:nvSpPr>
        <p:spPr bwMode="auto">
          <a:xfrm>
            <a:off x="515401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sp>
        <p:nvSpPr>
          <p:cNvPr id="15" name="Text Box 150"/>
          <p:cNvSpPr txBox="1">
            <a:spLocks noChangeArrowheads="1"/>
          </p:cNvSpPr>
          <p:nvPr/>
        </p:nvSpPr>
        <p:spPr bwMode="auto">
          <a:xfrm>
            <a:off x="1656398" y="6334125"/>
            <a:ext cx="7680960" cy="461665"/>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Feb. 29, 2016 (2) Gross dividend yield is calculated as Gross return index return minus price index return
3) Including negative values. Trailing period is 12 months
4) Annualized turnover last four quarterly reviews</a:t>
            </a:r>
          </a:p>
        </p:txBody>
      </p:sp>
      <p:sp>
        <p:nvSpPr>
          <p:cNvPr id="17"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dirty="0"/>
              <a:t>STOXX® Global Select Dividend 100 
(USD </a:t>
            </a:r>
            <a:r>
              <a:rPr lang="en-US" sz="1000" dirty="0" smtClean="0"/>
              <a:t>Net Return</a:t>
            </a:r>
            <a:r>
              <a:rPr lang="en-US" sz="1000" dirty="0"/>
              <a:t>) </a:t>
            </a:r>
          </a:p>
        </p:txBody>
      </p:sp>
      <p:graphicFrame>
        <p:nvGraphicFramePr>
          <p:cNvPr id="19" name="Group 62"/>
          <p:cNvGraphicFramePr>
            <a:graphicFrameLocks noGrp="1"/>
          </p:cNvGraphicFramePr>
          <p:nvPr>
            <p:custDataLst>
              <p:tags r:id="rId1"/>
            </p:custDataLst>
            <p:extLst>
              <p:ext uri="{D42A27DB-BD31-4B8C-83A1-F6EECF244321}">
                <p14:modId xmlns:p14="http://schemas.microsoft.com/office/powerpoint/2010/main" val="805240465"/>
              </p:ext>
            </p:extLst>
          </p:nvPr>
        </p:nvGraphicFramePr>
        <p:xfrm>
          <a:off x="358617" y="2225820"/>
          <a:ext cx="4370833" cy="2505387"/>
        </p:xfrm>
        <a:graphic>
          <a:graphicData uri="http://schemas.openxmlformats.org/drawingml/2006/table">
            <a:tbl>
              <a:tblPr>
                <a:tableStyleId>{616DA210-FB5B-4158-B5E0-FEB733F419BA}</a:tableStyleId>
              </a:tblPr>
              <a:tblGrid>
                <a:gridCol w="1821357"/>
                <a:gridCol w="1274738"/>
                <a:gridCol w="1274738"/>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STOXX® Global Select Dividend 10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Gross dividend yield</a:t>
                      </a:r>
                      <a:r>
                        <a:rPr lang="en-US" sz="1000" baseline="30000"/>
                        <a:t>2)</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4.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5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0.1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2.0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5.6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2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4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0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0</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4.8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7.84</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3" name="Group 62"/>
          <p:cNvGraphicFramePr>
            <a:graphicFrameLocks noGrp="1"/>
          </p:cNvGraphicFramePr>
          <p:nvPr>
            <p:custDataLst>
              <p:tags r:id="rId2"/>
            </p:custDataLst>
            <p:extLst>
              <p:ext uri="{D42A27DB-BD31-4B8C-83A1-F6EECF244321}">
                <p14:modId xmlns:p14="http://schemas.microsoft.com/office/powerpoint/2010/main" val="1937815221"/>
              </p:ext>
            </p:extLst>
          </p:nvPr>
        </p:nvGraphicFramePr>
        <p:xfrm>
          <a:off x="5161595" y="2254395"/>
          <a:ext cx="4369882" cy="1551123"/>
        </p:xfrm>
        <a:graphic>
          <a:graphicData uri="http://schemas.openxmlformats.org/drawingml/2006/table">
            <a:tbl>
              <a:tblPr>
                <a:tableStyleId>{616DA210-FB5B-4158-B5E0-FEB733F419BA}</a:tableStyleId>
              </a:tblPr>
              <a:tblGrid>
                <a:gridCol w="1553530"/>
                <a:gridCol w="1408176"/>
                <a:gridCol w="1408176"/>
              </a:tblGrid>
              <a:tr h="46975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D80F5F"/>
                          </a:solidFill>
                        </a:rPr>
                        <a:t>STOXX® Global Select Dividend 10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00</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00</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Market cap (wgt. avg.) in USD bn</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940.08</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0309146.60</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9.14%</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09%</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5" name="Group 62"/>
          <p:cNvGraphicFramePr>
            <a:graphicFrameLocks noGrp="1"/>
          </p:cNvGraphicFramePr>
          <p:nvPr>
            <p:custDataLst>
              <p:tags r:id="rId3"/>
            </p:custDataLst>
            <p:extLst>
              <p:ext uri="{D42A27DB-BD31-4B8C-83A1-F6EECF244321}">
                <p14:modId xmlns:p14="http://schemas.microsoft.com/office/powerpoint/2010/main" val="1254393584"/>
              </p:ext>
            </p:extLst>
          </p:nvPr>
        </p:nvGraphicFramePr>
        <p:xfrm>
          <a:off x="5168740" y="4010096"/>
          <a:ext cx="4365786" cy="1477695"/>
        </p:xfrm>
        <a:graphic>
          <a:graphicData uri="http://schemas.openxmlformats.org/drawingml/2006/table">
            <a:tbl>
              <a:tblPr>
                <a:tableStyleId>{616DA210-FB5B-4158-B5E0-FEB733F419BA}</a:tableStyleId>
              </a:tblPr>
              <a:tblGrid>
                <a:gridCol w="2956085"/>
                <a:gridCol w="140970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1">
                          <a:solidFill>
                            <a:srgbClr val="14044E"/>
                          </a:solidFill>
                        </a:rPr>
                        <a:t>vs STOXX® Global 18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87</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0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78</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Rectangle 6"/>
          <p:cNvSpPr>
            <a:spLocks noChangeArrowheads="1"/>
          </p:cNvSpPr>
          <p:nvPr/>
        </p:nvSpPr>
        <p:spPr bwMode="auto">
          <a:xfrm>
            <a:off x="7694284" y="5868772"/>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dirty="0"/>
              <a:t>STOXX® Global 1800 
(USD </a:t>
            </a:r>
            <a:r>
              <a:rPr lang="en-US" sz="1000" dirty="0" smtClean="0"/>
              <a:t>Net Return</a:t>
            </a:r>
            <a:r>
              <a:rPr lang="en-US" sz="1000" dirty="0"/>
              <a:t>) </a:t>
            </a:r>
          </a:p>
        </p:txBody>
      </p:sp>
    </p:spTree>
    <p:extLst>
      <p:ext uri="{BB962C8B-B14F-4D97-AF65-F5344CB8AC3E}">
        <p14:creationId xmlns:p14="http://schemas.microsoft.com/office/powerpoint/2010/main" val="24579054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656398" y="6331744"/>
            <a:ext cx="7680960" cy="146194"/>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Feb. 29, 2016</a:t>
            </a:r>
          </a:p>
        </p:txBody>
      </p:sp>
      <p:sp>
        <p:nvSpPr>
          <p:cNvPr id="10" name="Title 1"/>
          <p:cNvSpPr>
            <a:spLocks noGrp="1"/>
          </p:cNvSpPr>
          <p:nvPr>
            <p:ph type="title"/>
          </p:nvPr>
        </p:nvSpPr>
        <p:spPr/>
        <p:txBody>
          <a:bodyPr/>
          <a:lstStyle/>
          <a:p>
            <a:r>
              <a:rPr lang="en-US" dirty="0"/>
              <a:t>Top 10 </a:t>
            </a:r>
            <a:r>
              <a:rPr lang="en-US" dirty="0" err="1" smtClean="0"/>
              <a:t>supersectors</a:t>
            </a:r>
            <a:r>
              <a:rPr lang="en-US" dirty="0" smtClean="0"/>
              <a:t> </a:t>
            </a:r>
            <a:r>
              <a:rPr lang="en-US" dirty="0"/>
              <a:t>and countries by weight</a:t>
            </a:r>
            <a:endParaRPr lang="en-GB" dirty="0"/>
          </a:p>
        </p:txBody>
      </p:sp>
      <p:sp>
        <p:nvSpPr>
          <p:cNvPr id="11" name="Rectangle 2"/>
          <p:cNvSpPr>
            <a:spLocks noChangeArrowheads="1"/>
          </p:cNvSpPr>
          <p:nvPr/>
        </p:nvSpPr>
        <p:spPr bwMode="auto">
          <a:xfrm>
            <a:off x="365760"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err="1">
                <a:solidFill>
                  <a:srgbClr val="FFFFFF"/>
                </a:solidFill>
              </a:rPr>
              <a:t>Supersector</a:t>
            </a:r>
            <a:r>
              <a:rPr lang="en-US" sz="1600" b="1" dirty="0">
                <a:solidFill>
                  <a:srgbClr val="FFFFFF"/>
                </a:solidFill>
              </a:rPr>
              <a:t>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sp>
        <p:nvSpPr>
          <p:cNvPr id="12" name="Rectangle 2"/>
          <p:cNvSpPr>
            <a:spLocks noChangeArrowheads="1"/>
          </p:cNvSpPr>
          <p:nvPr/>
        </p:nvSpPr>
        <p:spPr bwMode="auto">
          <a:xfrm>
            <a:off x="5152072"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2194199283"/>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2538153481"/>
              </p:ext>
            </p:extLst>
          </p:nvPr>
        </p:nvGraphicFramePr>
        <p:xfrm>
          <a:off x="4800600" y="2222778"/>
          <a:ext cx="4891866" cy="3841789"/>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6"/>
          <p:cNvSpPr>
            <a:spLocks noChangeArrowheads="1"/>
          </p:cNvSpPr>
          <p:nvPr/>
        </p:nvSpPr>
        <p:spPr bwMode="auto">
          <a:xfrm>
            <a:off x="3570117" y="5857758"/>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dirty="0"/>
              <a:t>STOXX® Global Select Dividend 100 
(USD </a:t>
            </a:r>
            <a:r>
              <a:rPr lang="en-US" sz="1000" dirty="0" smtClean="0"/>
              <a:t>Net Return</a:t>
            </a:r>
            <a:r>
              <a:rPr lang="en-US" sz="1000" dirty="0"/>
              <a:t>) </a:t>
            </a:r>
          </a:p>
        </p:txBody>
      </p:sp>
    </p:spTree>
    <p:extLst>
      <p:ext uri="{BB962C8B-B14F-4D97-AF65-F5344CB8AC3E}">
        <p14:creationId xmlns:p14="http://schemas.microsoft.com/office/powerpoint/2010/main" val="32026020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sp>
        <p:nvSpPr>
          <p:cNvPr id="9" name="Text Box 150"/>
          <p:cNvSpPr txBox="1">
            <a:spLocks noChangeArrowheads="1"/>
          </p:cNvSpPr>
          <p:nvPr/>
        </p:nvSpPr>
        <p:spPr bwMode="auto">
          <a:xfrm>
            <a:off x="1656397" y="6331744"/>
            <a:ext cx="7589520" cy="365760"/>
          </a:xfrm>
          <a:prstGeom prst="rect">
            <a:avLst/>
          </a:prstGeom>
          <a:noFill/>
          <a:ln w="9525">
            <a:noFill/>
            <a:miter lim="800000"/>
            <a:headEnd/>
            <a:tailEnd/>
          </a:ln>
        </p:spPr>
        <p:txBody>
          <a:bodyPr lIns="0" tIns="0" rIns="0" bIns="0" anchor="t" anchorCtr="0">
            <a:noAutofit/>
          </a:bodyPr>
          <a:lstStyle/>
          <a:p>
            <a:r>
              <a:rPr lang="en-US" sz="1000">
                <a:solidFill>
                  <a:srgbClr val="AFAFAF"/>
                </a:solidFill>
              </a:rPr>
              <a:t>1) STOXX data as of Feb. 29, 2016</a:t>
            </a:r>
          </a:p>
        </p:txBody>
      </p:sp>
      <p:graphicFrame>
        <p:nvGraphicFramePr>
          <p:cNvPr id="5" name="Group 62"/>
          <p:cNvGraphicFramePr>
            <a:graphicFrameLocks noGrp="1" noChangeAspect="1"/>
          </p:cNvGraphicFramePr>
          <p:nvPr>
            <p:custDataLst>
              <p:tags r:id="rId1"/>
            </p:custDataLst>
            <p:extLst>
              <p:ext uri="{D42A27DB-BD31-4B8C-83A1-F6EECF244321}">
                <p14:modId xmlns:p14="http://schemas.microsoft.com/office/powerpoint/2010/main" val="1448827968"/>
              </p:ext>
            </p:extLst>
          </p:nvPr>
        </p:nvGraphicFramePr>
        <p:xfrm>
          <a:off x="354134" y="1835356"/>
          <a:ext cx="9371491" cy="4278008"/>
        </p:xfrm>
        <a:graphic>
          <a:graphicData uri="http://schemas.openxmlformats.org/drawingml/2006/table">
            <a:tbl>
              <a:tblPr>
                <a:tableStyleId>{616DA210-FB5B-4158-B5E0-FEB733F419BA}</a:tableStyleId>
              </a:tblPr>
              <a:tblGrid>
                <a:gridCol w="2560516"/>
                <a:gridCol w="2438400"/>
                <a:gridCol w="1295400"/>
                <a:gridCol w="1781175"/>
                <a:gridCol w="1296000"/>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err="1"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400" b="1">
                          <a:solidFill>
                            <a:srgbClr val="FFFFFF"/>
                          </a:solidFill>
                        </a:rPr>
                        <a:t>Market cap USD bn</a:t>
                      </a: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 %</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SAINSBURY (J)</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Retai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5.1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82</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Ascendas Real Estate Investmen</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Real Estat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SG</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6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1.77</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1270" indent="635"/>
                      <a:r>
                        <a:rPr lang="en-US" sz="1200">
                          <a:solidFill>
                            <a:srgbClr val="000000"/>
                          </a:solidFill>
                        </a:rPr>
                        <a:t>CAPITALAND MALL TRUST MGMT</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Real Estat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SG</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5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1.68</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Insurance Australia Group Ltd.</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AU</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8.9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64</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Mattel Inc.</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Personal &amp; Household Good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U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1.0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62</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SCOTTISH &amp; SOUTHERN ENERGY</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Util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9.3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53</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SWISS REINSURANCE COMPANY</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CH</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0.5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51</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SNAM RETE GAS</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Util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1.4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46</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UBM</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Medi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6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39</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1270" indent="635"/>
                      <a:r>
                        <a:rPr lang="en-US" sz="1200">
                          <a:solidFill>
                            <a:srgbClr val="000000"/>
                          </a:solidFill>
                        </a:rPr>
                        <a:t>GLAXOSMITHKLINE</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Health Car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94.9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39</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3288048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C7D97514-39DA-4E13-AA63-747F41C46DEB}"/>
</file>

<file path=customXml/itemProps2.xml><?xml version="1.0" encoding="utf-8"?>
<ds:datastoreItem xmlns:ds="http://schemas.openxmlformats.org/officeDocument/2006/customXml" ds:itemID="{69E6F80A-4585-4109-96D8-121436F6EB2A}"/>
</file>

<file path=customXml/itemProps3.xml><?xml version="1.0" encoding="utf-8"?>
<ds:datastoreItem xmlns:ds="http://schemas.openxmlformats.org/officeDocument/2006/customXml" ds:itemID="{150112CF-CD29-42FA-8B17-27C62562F73B}"/>
</file>

<file path=docProps/app.xml><?xml version="1.0" encoding="utf-8"?>
<Properties xmlns="http://schemas.openxmlformats.org/officeDocument/2006/extended-properties" xmlns:vt="http://schemas.openxmlformats.org/officeDocument/2006/docPropsVTypes">
  <Template>STOXXPresentations2.0</Template>
  <TotalTime>0</TotalTime>
  <Words>1393</Words>
  <Application>Microsoft Office PowerPoint</Application>
  <PresentationFormat>A4 Paper (210x297 mm)</PresentationFormat>
  <Paragraphs>238</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STOXX® GLOBAL SELECT DIVIDEND 100 INDEX </vt:lpstr>
      <vt:lpstr>Agenda</vt:lpstr>
      <vt:lpstr>Investment case</vt:lpstr>
      <vt:lpstr>Methodology: STOXX Global Select Dividend Index combines the three regional STOXX Select Dividend indices for the regions North America, Europe and Asia/Pacific</vt:lpstr>
      <vt:lpstr>Risk and return overview</vt:lpstr>
      <vt:lpstr>Index fundamental characteristics and key figures</vt:lpstr>
      <vt:lpstr>Top 10 supersectors and countries by weight</vt:lpstr>
      <vt:lpstr>Top 10 components by weight</vt:lpstr>
      <vt:lpstr>STOXX sales contacts</vt:lpstr>
      <vt:lpstr>Referen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276</cp:revision>
  <dcterms:created xsi:type="dcterms:W3CDTF">2014-05-26T13:36:56Z</dcterms:created>
  <dcterms:modified xsi:type="dcterms:W3CDTF">2016-03-29T11:4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